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00" r:id="rId5"/>
  </p:sldMasterIdLst>
  <p:notesMasterIdLst>
    <p:notesMasterId r:id="rId51"/>
  </p:notesMasterIdLst>
  <p:sldIdLst>
    <p:sldId id="587" r:id="rId6"/>
    <p:sldId id="524" r:id="rId7"/>
    <p:sldId id="589" r:id="rId8"/>
    <p:sldId id="266" r:id="rId9"/>
    <p:sldId id="529" r:id="rId10"/>
    <p:sldId id="530" r:id="rId11"/>
    <p:sldId id="582" r:id="rId12"/>
    <p:sldId id="584" r:id="rId13"/>
    <p:sldId id="585" r:id="rId14"/>
    <p:sldId id="583" r:id="rId15"/>
    <p:sldId id="586" r:id="rId16"/>
    <p:sldId id="590" r:id="rId17"/>
    <p:sldId id="591" r:id="rId18"/>
    <p:sldId id="626" r:id="rId19"/>
    <p:sldId id="601" r:id="rId20"/>
    <p:sldId id="603" r:id="rId21"/>
    <p:sldId id="624" r:id="rId22"/>
    <p:sldId id="605" r:id="rId23"/>
    <p:sldId id="608" r:id="rId24"/>
    <p:sldId id="606" r:id="rId25"/>
    <p:sldId id="607" r:id="rId26"/>
    <p:sldId id="541" r:id="rId27"/>
    <p:sldId id="552" r:id="rId28"/>
    <p:sldId id="558" r:id="rId29"/>
    <p:sldId id="553" r:id="rId30"/>
    <p:sldId id="560" r:id="rId31"/>
    <p:sldId id="556" r:id="rId32"/>
    <p:sldId id="568" r:id="rId33"/>
    <p:sldId id="570" r:id="rId34"/>
    <p:sldId id="564" r:id="rId35"/>
    <p:sldId id="571" r:id="rId36"/>
    <p:sldId id="572" r:id="rId37"/>
    <p:sldId id="573" r:id="rId38"/>
    <p:sldId id="574" r:id="rId39"/>
    <p:sldId id="604" r:id="rId40"/>
    <p:sldId id="617" r:id="rId41"/>
    <p:sldId id="616" r:id="rId42"/>
    <p:sldId id="615" r:id="rId43"/>
    <p:sldId id="614" r:id="rId44"/>
    <p:sldId id="613" r:id="rId45"/>
    <p:sldId id="611" r:id="rId46"/>
    <p:sldId id="622" r:id="rId47"/>
    <p:sldId id="618" r:id="rId48"/>
    <p:sldId id="623" r:id="rId49"/>
    <p:sldId id="625" r:id="rId50"/>
  </p:sldIdLst>
  <p:sldSz cx="9144000" cy="5143500" type="screen16x9"/>
  <p:notesSz cx="6858000" cy="9144000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49B568AF-5F4E-4683-BB1F-D5167199C192}">
          <p14:sldIdLst>
            <p14:sldId id="587"/>
            <p14:sldId id="524"/>
            <p14:sldId id="589"/>
            <p14:sldId id="266"/>
            <p14:sldId id="529"/>
            <p14:sldId id="530"/>
            <p14:sldId id="582"/>
            <p14:sldId id="584"/>
            <p14:sldId id="585"/>
            <p14:sldId id="583"/>
            <p14:sldId id="586"/>
            <p14:sldId id="590"/>
            <p14:sldId id="591"/>
            <p14:sldId id="626"/>
            <p14:sldId id="601"/>
            <p14:sldId id="603"/>
            <p14:sldId id="624"/>
            <p14:sldId id="605"/>
            <p14:sldId id="608"/>
            <p14:sldId id="606"/>
            <p14:sldId id="607"/>
            <p14:sldId id="541"/>
            <p14:sldId id="552"/>
            <p14:sldId id="558"/>
            <p14:sldId id="553"/>
            <p14:sldId id="560"/>
            <p14:sldId id="556"/>
            <p14:sldId id="568"/>
            <p14:sldId id="570"/>
            <p14:sldId id="564"/>
            <p14:sldId id="571"/>
            <p14:sldId id="572"/>
            <p14:sldId id="573"/>
            <p14:sldId id="574"/>
            <p14:sldId id="604"/>
            <p14:sldId id="617"/>
            <p14:sldId id="616"/>
            <p14:sldId id="615"/>
            <p14:sldId id="614"/>
            <p14:sldId id="613"/>
            <p14:sldId id="611"/>
            <p14:sldId id="622"/>
            <p14:sldId id="618"/>
            <p14:sldId id="623"/>
            <p14:sldId id="625"/>
          </p14:sldIdLst>
        </p14:section>
        <p14:section name="Templates" id="{9D1A92EC-9683-4766-8E2E-478FF76727A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904">
          <p15:clr>
            <a:srgbClr val="A4A3A4"/>
          </p15:clr>
        </p15:guide>
        <p15:guide id="2" orient="horz" pos="2346">
          <p15:clr>
            <a:srgbClr val="A4A3A4"/>
          </p15:clr>
        </p15:guide>
        <p15:guide id="3" orient="horz" pos="2845">
          <p15:clr>
            <a:srgbClr val="A4A3A4"/>
          </p15:clr>
        </p15:guide>
        <p15:guide id="4" orient="horz" pos="123">
          <p15:clr>
            <a:srgbClr val="A4A3A4"/>
          </p15:clr>
        </p15:guide>
        <p15:guide id="5" orient="horz" pos="1408">
          <p15:clr>
            <a:srgbClr val="A4A3A4"/>
          </p15:clr>
        </p15:guide>
        <p15:guide id="6" orient="horz" pos="972">
          <p15:clr>
            <a:srgbClr val="A4A3A4"/>
          </p15:clr>
        </p15:guide>
        <p15:guide id="7" pos="5511">
          <p15:clr>
            <a:srgbClr val="A4A3A4"/>
          </p15:clr>
        </p15:guide>
        <p15:guide id="8" pos="1313">
          <p15:clr>
            <a:srgbClr val="A4A3A4"/>
          </p15:clr>
        </p15:guide>
        <p15:guide id="9" pos="2372">
          <p15:clr>
            <a:srgbClr val="A4A3A4"/>
          </p15:clr>
        </p15:guide>
        <p15:guide id="10" pos="3424">
          <p15:clr>
            <a:srgbClr val="A4A3A4"/>
          </p15:clr>
        </p15:guide>
        <p15:guide id="11" pos="44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5DB1"/>
    <a:srgbClr val="FF8AD8"/>
    <a:srgbClr val="FF85FF"/>
    <a:srgbClr val="D883FF"/>
    <a:srgbClr val="7A81FF"/>
    <a:srgbClr val="76D6FF"/>
    <a:srgbClr val="73FDD6"/>
    <a:srgbClr val="73FB79"/>
    <a:srgbClr val="D5FC79"/>
    <a:srgbClr val="FFFD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–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–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edium Style 4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–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7CE84F3-28C3-443E-9E96-99CF82512B78}" styleName="Dark Style 1 –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–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–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429" autoAdjust="0"/>
    <p:restoredTop sz="94767"/>
  </p:normalViewPr>
  <p:slideViewPr>
    <p:cSldViewPr showGuides="1">
      <p:cViewPr varScale="1">
        <p:scale>
          <a:sx n="142" d="100"/>
          <a:sy n="142" d="100"/>
        </p:scale>
        <p:origin x="176" y="632"/>
      </p:cViewPr>
      <p:guideLst>
        <p:guide orient="horz" pos="1904"/>
        <p:guide orient="horz" pos="2346"/>
        <p:guide orient="horz" pos="2845"/>
        <p:guide orient="horz" pos="123"/>
        <p:guide orient="horz" pos="1408"/>
        <p:guide orient="horz" pos="972"/>
        <p:guide pos="5511"/>
        <p:guide pos="1313"/>
        <p:guide pos="2372"/>
        <p:guide pos="3424"/>
        <p:guide pos="44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dirty="0">
              <a:effectLst/>
            </a:rPr>
            <a:t>(Performance, Security, Code quality, Mutation, Memory leakage, Contracts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4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 </a:t>
          </a:r>
        </a:p>
        <a:p>
          <a:r>
            <a:rPr lang="en-GB" sz="1400" i="1" dirty="0">
              <a:effectLst/>
            </a:rPr>
            <a:t>(and maybe Contracts)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effectLst/>
            </a:rPr>
            <a:t>(Performance, Security, Code quality, Mutation, Memory leakage, Contracts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4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C14C8-D46C-472D-B82E-57ACC8DDA413}" type="datetimeFigureOut">
              <a:rPr lang="en-US" smtClean="0"/>
              <a:t>10/4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AC69F-B662-4A68-BF84-1E6CAAB30C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574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2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937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898358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8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7113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build="p"/>
      <p:bldP spid="8" grpId="0" build="p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9319178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8347458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074048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5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7" name="Straight Connector 16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254651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 uitl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6" y="186900"/>
            <a:ext cx="668847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668895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078831" y="397886"/>
            <a:ext cx="6692815" cy="210403"/>
            <a:chOff x="2295013" y="532263"/>
            <a:chExt cx="7063733" cy="280537"/>
          </a:xfrm>
        </p:grpSpPr>
        <p:cxnSp>
          <p:nvCxnSpPr>
            <p:cNvPr id="9" name="Straight Connector 8"/>
            <p:cNvCxnSpPr/>
            <p:nvPr/>
          </p:nvCxnSpPr>
          <p:spPr bwMode="auto">
            <a:xfrm>
              <a:off x="2295013" y="812800"/>
              <a:ext cx="6711268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Straight Connector 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901229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0603659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bg1"/>
                </a:solidFill>
              </a:rPr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6944917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92854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039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49141" y="186890"/>
            <a:ext cx="840968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349142" y="1075881"/>
            <a:ext cx="8402263" cy="3577919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8871956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0" y="186900"/>
            <a:ext cx="841836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47646"/>
            <a:ext cx="841896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349141" y="1073428"/>
            <a:ext cx="4026561" cy="3580371"/>
          </a:xfrm>
        </p:spPr>
        <p:txBody>
          <a:bodyPr/>
          <a:lstStyle>
            <a:lvl1pPr>
              <a:defRPr/>
            </a:lvl1pPr>
            <a:lvl2pPr marL="561961" marR="0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marL="561961" marR="0" lvl="1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4C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" name="Tijdelijke aanduiding voor tekst 8"/>
          <p:cNvSpPr>
            <a:spLocks noGrp="1"/>
          </p:cNvSpPr>
          <p:nvPr>
            <p:ph type="body" sz="quarter" idx="19"/>
          </p:nvPr>
        </p:nvSpPr>
        <p:spPr>
          <a:xfrm>
            <a:off x="4709936" y="1073428"/>
            <a:ext cx="402656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3" name="Straight Connector 1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946941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25" y="252000"/>
            <a:ext cx="1496010" cy="360000"/>
          </a:xfrm>
          <a:prstGeom prst="rect">
            <a:avLst/>
          </a:prstGeom>
        </p:spPr>
      </p:pic>
      <p:sp>
        <p:nvSpPr>
          <p:cNvPr id="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0011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 - witt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114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8263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1278733" y="1059659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7" name="Tijdelijke aanduiding voor afbeelding 10"/>
          <p:cNvSpPr>
            <a:spLocks noGrp="1"/>
          </p:cNvSpPr>
          <p:nvPr>
            <p:ph type="pic" sz="quarter" idx="23" hasCustomPrompt="1"/>
          </p:nvPr>
        </p:nvSpPr>
        <p:spPr>
          <a:xfrm>
            <a:off x="6457949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9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001807" y="3375313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1560910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4" name="Tijdelijke aanduiding voor tekst 26"/>
          <p:cNvSpPr>
            <a:spLocks noGrp="1"/>
          </p:cNvSpPr>
          <p:nvPr>
            <p:ph type="body" sz="quarter" idx="28" hasCustomPrompt="1"/>
          </p:nvPr>
        </p:nvSpPr>
        <p:spPr>
          <a:xfrm>
            <a:off x="6740126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1001807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7" name="Tijdelijke aanduiding voor tekst 8"/>
          <p:cNvSpPr>
            <a:spLocks noGrp="1"/>
          </p:cNvSpPr>
          <p:nvPr>
            <p:ph type="body" sz="quarter" idx="31" hasCustomPrompt="1"/>
          </p:nvPr>
        </p:nvSpPr>
        <p:spPr>
          <a:xfrm>
            <a:off x="6181016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79" name="Tijdelijke aanduiding voor tekst 8"/>
          <p:cNvSpPr>
            <a:spLocks noGrp="1"/>
          </p:cNvSpPr>
          <p:nvPr>
            <p:ph type="body" sz="quarter" idx="32" hasCustomPrompt="1"/>
          </p:nvPr>
        </p:nvSpPr>
        <p:spPr>
          <a:xfrm>
            <a:off x="1001807" y="2957393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2" name="Tijdelijke aanduiding voor tekst 8"/>
          <p:cNvSpPr>
            <a:spLocks noGrp="1"/>
          </p:cNvSpPr>
          <p:nvPr>
            <p:ph type="body" sz="quarter" idx="35" hasCustomPrompt="1"/>
          </p:nvPr>
        </p:nvSpPr>
        <p:spPr>
          <a:xfrm>
            <a:off x="1001807" y="3155726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6" name="Tijdelijke aanduiding voor tekst 8"/>
          <p:cNvSpPr>
            <a:spLocks noGrp="1"/>
          </p:cNvSpPr>
          <p:nvPr>
            <p:ph type="body" sz="quarter" idx="39"/>
          </p:nvPr>
        </p:nvSpPr>
        <p:spPr>
          <a:xfrm>
            <a:off x="6171194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7" name="Tijdelijke aanduiding voor tekst 8"/>
          <p:cNvSpPr>
            <a:spLocks noGrp="1"/>
          </p:cNvSpPr>
          <p:nvPr>
            <p:ph type="body" sz="quarter" idx="40" hasCustomPrompt="1"/>
          </p:nvPr>
        </p:nvSpPr>
        <p:spPr>
          <a:xfrm>
            <a:off x="6171194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8" name="Tijdelijke aanduiding voor tekst 8"/>
          <p:cNvSpPr>
            <a:spLocks noGrp="1"/>
          </p:cNvSpPr>
          <p:nvPr>
            <p:ph type="body" sz="quarter" idx="41" hasCustomPrompt="1"/>
          </p:nvPr>
        </p:nvSpPr>
        <p:spPr>
          <a:xfrm>
            <a:off x="6171194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9" name="Straight Connector 2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1855135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531207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646"/>
            <a:ext cx="853182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257175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5161360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2853929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5443537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2294825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4884431" y="2604144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15" name="Tijdelijke aanduiding voor tekst 8"/>
          <p:cNvSpPr>
            <a:spLocks noGrp="1"/>
          </p:cNvSpPr>
          <p:nvPr>
            <p:ph type="body" sz="quarter" idx="42"/>
          </p:nvPr>
        </p:nvSpPr>
        <p:spPr>
          <a:xfrm>
            <a:off x="4884431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6" name="Tijdelijke aanduiding voor tekst 8"/>
          <p:cNvSpPr>
            <a:spLocks noGrp="1"/>
          </p:cNvSpPr>
          <p:nvPr>
            <p:ph type="body" sz="quarter" idx="43" hasCustomPrompt="1"/>
          </p:nvPr>
        </p:nvSpPr>
        <p:spPr>
          <a:xfrm>
            <a:off x="4884431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17" name="Tijdelijke aanduiding voor tekst 8"/>
          <p:cNvSpPr>
            <a:spLocks noGrp="1"/>
          </p:cNvSpPr>
          <p:nvPr>
            <p:ph type="body" sz="quarter" idx="44" hasCustomPrompt="1"/>
          </p:nvPr>
        </p:nvSpPr>
        <p:spPr>
          <a:xfrm>
            <a:off x="4884431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118" name="Tijdelijke aanduiding voor tekst 8"/>
          <p:cNvSpPr>
            <a:spLocks noGrp="1"/>
          </p:cNvSpPr>
          <p:nvPr>
            <p:ph type="body" sz="quarter" idx="45"/>
          </p:nvPr>
        </p:nvSpPr>
        <p:spPr>
          <a:xfrm>
            <a:off x="2294825" y="3382081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9" name="Tijdelijke aanduiding voor tekst 8"/>
          <p:cNvSpPr>
            <a:spLocks noGrp="1"/>
          </p:cNvSpPr>
          <p:nvPr>
            <p:ph type="body" sz="quarter" idx="46" hasCustomPrompt="1"/>
          </p:nvPr>
        </p:nvSpPr>
        <p:spPr>
          <a:xfrm>
            <a:off x="2294825" y="2964161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20" name="Tijdelijke aanduiding voor tekst 8"/>
          <p:cNvSpPr>
            <a:spLocks noGrp="1"/>
          </p:cNvSpPr>
          <p:nvPr>
            <p:ph type="body" sz="quarter" idx="47" hasCustomPrompt="1"/>
          </p:nvPr>
        </p:nvSpPr>
        <p:spPr>
          <a:xfrm>
            <a:off x="2294825" y="3162494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4916021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1 per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58329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583908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01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102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0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0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5" name="Straight Connector 1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Straight Connector 1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7730772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5211236" y="1075970"/>
            <a:ext cx="3577955" cy="1709472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1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91809"/>
            <a:ext cx="844440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52632"/>
            <a:ext cx="8445011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3036536"/>
            <a:ext cx="3577956" cy="161726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4174676" y="3036536"/>
            <a:ext cx="4614515" cy="161726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3" y="1075970"/>
            <a:ext cx="4614516" cy="170947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0212622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136839" y="1086195"/>
            <a:ext cx="2652350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479125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7973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1084454"/>
            <a:ext cx="2638872" cy="109578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3240272" y="2444240"/>
            <a:ext cx="2644020" cy="220967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4" y="2440156"/>
            <a:ext cx="2638873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240272" y="1082659"/>
            <a:ext cx="2644019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6136838" y="2440156"/>
            <a:ext cx="2644019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8944104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4 - voors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349899" y="1082446"/>
            <a:ext cx="1247027" cy="69611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42704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2030574"/>
            <a:ext cx="1248835" cy="7014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1841854" y="2030574"/>
            <a:ext cx="6947336" cy="70144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1841853" y="1073427"/>
            <a:ext cx="6910978" cy="6858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52697" y="2985470"/>
            <a:ext cx="1245390" cy="70738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1841854" y="2985469"/>
            <a:ext cx="6955981" cy="68418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34" name="Tijdelijke aanduiding voor afbeelding 10"/>
          <p:cNvSpPr>
            <a:spLocks noGrp="1"/>
          </p:cNvSpPr>
          <p:nvPr>
            <p:ph type="pic" sz="quarter" idx="24" hasCustomPrompt="1"/>
          </p:nvPr>
        </p:nvSpPr>
        <p:spPr>
          <a:xfrm>
            <a:off x="348856" y="3944868"/>
            <a:ext cx="1248071" cy="7051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5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841854" y="3944868"/>
            <a:ext cx="6947336" cy="7051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740940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3" y="188886"/>
            <a:ext cx="8409682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2831258" y="1898568"/>
            <a:ext cx="3418995" cy="1958072"/>
            <a:chOff x="704" y="364"/>
            <a:chExt cx="6272" cy="3592"/>
          </a:xfrm>
        </p:grpSpPr>
        <p:sp>
          <p:nvSpPr>
            <p:cNvPr id="4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6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7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8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3305872" y="2013141"/>
            <a:ext cx="2420906" cy="152453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91" name="Tijdelijke aanduiding voor tekst 5"/>
          <p:cNvSpPr>
            <a:spLocks noGrp="1"/>
          </p:cNvSpPr>
          <p:nvPr>
            <p:ph type="body" sz="quarter" idx="23"/>
          </p:nvPr>
        </p:nvSpPr>
        <p:spPr>
          <a:xfrm>
            <a:off x="363591" y="1569246"/>
            <a:ext cx="1784747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2" name="Tijdelijke aanduiding voor tekst 5"/>
          <p:cNvSpPr>
            <a:spLocks noGrp="1"/>
          </p:cNvSpPr>
          <p:nvPr>
            <p:ph type="body" sz="quarter" idx="26"/>
          </p:nvPr>
        </p:nvSpPr>
        <p:spPr>
          <a:xfrm>
            <a:off x="381001" y="2519924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3" name="Tijdelijke aanduiding voor tekst 5"/>
          <p:cNvSpPr>
            <a:spLocks noGrp="1"/>
          </p:cNvSpPr>
          <p:nvPr>
            <p:ph type="body" sz="quarter" idx="27"/>
          </p:nvPr>
        </p:nvSpPr>
        <p:spPr>
          <a:xfrm>
            <a:off x="381001" y="3534680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4" name="Tijdelijke aanduiding voor tekst 5"/>
          <p:cNvSpPr>
            <a:spLocks noGrp="1"/>
          </p:cNvSpPr>
          <p:nvPr>
            <p:ph type="body" sz="quarter" idx="28"/>
          </p:nvPr>
        </p:nvSpPr>
        <p:spPr>
          <a:xfrm>
            <a:off x="6999340" y="1569246"/>
            <a:ext cx="1795415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2" name="Tijdelijke aanduiding voor tekst 5"/>
          <p:cNvSpPr>
            <a:spLocks noGrp="1"/>
          </p:cNvSpPr>
          <p:nvPr>
            <p:ph type="body" sz="quarter" idx="29"/>
          </p:nvPr>
        </p:nvSpPr>
        <p:spPr>
          <a:xfrm>
            <a:off x="7016755" y="2519924"/>
            <a:ext cx="1777897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3" name="Tijdelijke aanduiding voor tekst 5"/>
          <p:cNvSpPr>
            <a:spLocks noGrp="1"/>
          </p:cNvSpPr>
          <p:nvPr>
            <p:ph type="body" sz="quarter" idx="30"/>
          </p:nvPr>
        </p:nvSpPr>
        <p:spPr>
          <a:xfrm>
            <a:off x="7016752" y="3534680"/>
            <a:ext cx="1778000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3" name="Straight Connector 3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3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513197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9756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jdelijke aanduiding voor tekst 8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349142" y="1073428"/>
            <a:ext cx="2488301" cy="35803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</p:txBody>
      </p:sp>
      <p:sp>
        <p:nvSpPr>
          <p:cNvPr id="106" name="Rectangle 7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41" name="Tijdelijke aanduiding voor tekst 13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48855" y="347569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42" name="Group 141"/>
          <p:cNvGrpSpPr/>
          <p:nvPr userDrawn="1">
            <p:custDataLst>
              <p:tags r:id="rId5"/>
            </p:custDataLst>
          </p:nvPr>
        </p:nvGrpSpPr>
        <p:grpSpPr>
          <a:xfrm>
            <a:off x="347663" y="397918"/>
            <a:ext cx="8411896" cy="210403"/>
            <a:chOff x="403647" y="532263"/>
            <a:chExt cx="8955099" cy="280537"/>
          </a:xfrm>
        </p:grpSpPr>
        <p:cxnSp>
          <p:nvCxnSpPr>
            <p:cNvPr id="143" name="Straight Connector 142"/>
            <p:cNvCxnSpPr/>
            <p:nvPr userDrawn="1"/>
          </p:nvCxnSpPr>
          <p:spPr bwMode="auto">
            <a:xfrm>
              <a:off x="403647" y="812800"/>
              <a:ext cx="860263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3066751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10446653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4" name="Rectangle 7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12793009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4" name="Straight Connector 3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442078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3975209" cy="356801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18262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07725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172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1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1670827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25648" y="200912"/>
            <a:ext cx="24884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425361" y="359200"/>
            <a:ext cx="24885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sp>
        <p:nvSpPr>
          <p:cNvPr id="23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425648" y="1073428"/>
            <a:ext cx="248830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6426994" y="608289"/>
            <a:ext cx="201069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 flipV="1">
            <a:off x="8437688" y="397887"/>
            <a:ext cx="333957" cy="21040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4096345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922802" y="188884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4922514" y="349630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4922802" y="1073428"/>
            <a:ext cx="3975209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4922044" y="397886"/>
            <a:ext cx="3849602" cy="210403"/>
            <a:chOff x="5295798" y="532263"/>
            <a:chExt cx="406294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5295798" y="812800"/>
              <a:ext cx="371048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428455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14380" y="188884"/>
            <a:ext cx="5480243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14092" y="349630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14380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18113" y="397886"/>
            <a:ext cx="5353531" cy="210403"/>
            <a:chOff x="3708520" y="532263"/>
            <a:chExt cx="5650226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3708520" y="812800"/>
              <a:ext cx="529776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0627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5" name="Straight Connector 3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835686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512" y="2161894"/>
            <a:ext cx="3228975" cy="81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68693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49145" y="188886"/>
            <a:ext cx="843972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Planning communicatie</a:t>
            </a: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60" y="349630"/>
            <a:ext cx="8440337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8" name="Straight Connector 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Straight Connector 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92052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DAE-A562-4667-82DD-5BE61974BD31}" type="datetimeFigureOut">
              <a:rPr lang="id-ID" smtClean="0">
                <a:solidFill>
                  <a:prstClr val="white"/>
                </a:solidFill>
              </a:rPr>
              <a:pPr/>
              <a:t>04/10/23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462255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hoofdstuk</a:t>
            </a:r>
          </a:p>
        </p:txBody>
      </p:sp>
      <p:sp>
        <p:nvSpPr>
          <p:cNvPr id="1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93293074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90688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140411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8"/>
          <p:cNvGrpSpPr/>
          <p:nvPr userDrawn="1"/>
        </p:nvGrpSpPr>
        <p:grpSpPr>
          <a:xfrm>
            <a:off x="371277" y="838197"/>
            <a:ext cx="8400369" cy="3729436"/>
            <a:chOff x="464236" y="1434907"/>
            <a:chExt cx="10503880" cy="4768951"/>
          </a:xfrm>
        </p:grpSpPr>
        <p:grpSp>
          <p:nvGrpSpPr>
            <p:cNvPr id="5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5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ep 55"/>
            <p:cNvGrpSpPr/>
            <p:nvPr/>
          </p:nvGrpSpPr>
          <p:grpSpPr>
            <a:xfrm>
              <a:off x="464238" y="1434907"/>
              <a:ext cx="10503878" cy="4768951"/>
              <a:chOff x="464238" y="1165233"/>
              <a:chExt cx="10503878" cy="5575571"/>
            </a:xfrm>
          </p:grpSpPr>
          <p:cxnSp>
            <p:nvCxnSpPr>
              <p:cNvPr id="7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Rechte verbindingslijn 57"/>
              <p:cNvCxnSpPr/>
              <p:nvPr/>
            </p:nvCxnSpPr>
            <p:spPr>
              <a:xfrm rot="16200000">
                <a:off x="5554363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Rechte verbindingslijn 58"/>
              <p:cNvCxnSpPr/>
              <p:nvPr/>
            </p:nvCxnSpPr>
            <p:spPr>
              <a:xfrm rot="16200000">
                <a:off x="424137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Rechte verbindingslijn 59"/>
              <p:cNvCxnSpPr/>
              <p:nvPr/>
            </p:nvCxnSpPr>
            <p:spPr>
              <a:xfrm rot="16200000">
                <a:off x="161540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Rechte verbindingslijn 60"/>
              <p:cNvCxnSpPr/>
              <p:nvPr/>
            </p:nvCxnSpPr>
            <p:spPr>
              <a:xfrm rot="16200000">
                <a:off x="30242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Rechte verbindingslijn 61"/>
              <p:cNvCxnSpPr/>
              <p:nvPr/>
            </p:nvCxnSpPr>
            <p:spPr>
              <a:xfrm rot="16200000">
                <a:off x="292839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echte verbindingslijn 63"/>
              <p:cNvCxnSpPr/>
              <p:nvPr/>
            </p:nvCxnSpPr>
            <p:spPr>
              <a:xfrm rot="16200000">
                <a:off x="-1010561" y="3953018"/>
                <a:ext cx="557556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57"/>
              <p:cNvCxnSpPr/>
              <p:nvPr userDrawn="1"/>
            </p:nvCxnSpPr>
            <p:spPr>
              <a:xfrm rot="16200000">
                <a:off x="6867348" y="3953020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54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5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6" name="Straight Connector 2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Straight Connector 2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02893083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ep 38"/>
          <p:cNvGrpSpPr/>
          <p:nvPr userDrawn="1"/>
        </p:nvGrpSpPr>
        <p:grpSpPr>
          <a:xfrm>
            <a:off x="372558" y="833371"/>
            <a:ext cx="8161846" cy="3706828"/>
            <a:chOff x="464236" y="1434908"/>
            <a:chExt cx="10503880" cy="4768948"/>
          </a:xfrm>
        </p:grpSpPr>
        <p:grpSp>
          <p:nvGrpSpPr>
            <p:cNvPr id="118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28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ep 55"/>
            <p:cNvGrpSpPr/>
            <p:nvPr/>
          </p:nvGrpSpPr>
          <p:grpSpPr>
            <a:xfrm>
              <a:off x="464238" y="1434908"/>
              <a:ext cx="10503878" cy="4768948"/>
              <a:chOff x="464238" y="1165234"/>
              <a:chExt cx="10503878" cy="5575568"/>
            </a:xfrm>
          </p:grpSpPr>
          <p:cxnSp>
            <p:nvCxnSpPr>
              <p:cNvPr id="120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Rechte verbindingslijn 57"/>
              <p:cNvCxnSpPr/>
              <p:nvPr/>
            </p:nvCxnSpPr>
            <p:spPr>
              <a:xfrm rot="16200000">
                <a:off x="6679778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Rechte verbindingslijn 58"/>
              <p:cNvCxnSpPr/>
              <p:nvPr/>
            </p:nvCxnSpPr>
            <p:spPr>
              <a:xfrm rot="16200000">
                <a:off x="5179224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Rechte verbindingslijn 59"/>
              <p:cNvCxnSpPr/>
              <p:nvPr/>
            </p:nvCxnSpPr>
            <p:spPr>
              <a:xfrm rot="16200000">
                <a:off x="217811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Rechte verbindingslijn 60"/>
              <p:cNvCxnSpPr/>
              <p:nvPr/>
            </p:nvCxnSpPr>
            <p:spPr>
              <a:xfrm rot="16200000">
                <a:off x="67756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61"/>
              <p:cNvCxnSpPr/>
              <p:nvPr/>
            </p:nvCxnSpPr>
            <p:spPr>
              <a:xfrm rot="16200000">
                <a:off x="3678670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Rechte verbindingslijn 63"/>
              <p:cNvCxnSpPr/>
              <p:nvPr/>
            </p:nvCxnSpPr>
            <p:spPr>
              <a:xfrm rot="16200000">
                <a:off x="-82299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6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6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Straight Connector 2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546500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pagina - 100%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0" y="4047711"/>
            <a:ext cx="9144000" cy="1095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2"/>
            <a:ext cx="9144000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dirty="0"/>
              <a:t> </a:t>
            </a:r>
            <a:endParaRPr lang="en-GB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6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7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8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3718392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6" grpId="0" build="p"/>
      <p:bldP spid="17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6223" y="217057"/>
            <a:ext cx="6815919" cy="41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73249" bIns="3662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7582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5" r:id="rId1"/>
    <p:sldLayoutId id="2147483694" r:id="rId2"/>
    <p:sldLayoutId id="2147483696" r:id="rId3"/>
    <p:sldLayoutId id="2147483774" r:id="rId4"/>
    <p:sldLayoutId id="2147483699" r:id="rId5"/>
    <p:sldLayoutId id="2147483757" r:id="rId6"/>
    <p:sldLayoutId id="2147483755" r:id="rId7"/>
    <p:sldLayoutId id="2147483756" r:id="rId8"/>
  </p:sldLayoutIdLst>
  <p:transition spd="slow">
    <p:push dir="u"/>
  </p:transition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85951" y="277268"/>
            <a:ext cx="7800975" cy="315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71513" y="1264443"/>
            <a:ext cx="7800975" cy="3368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71514" y="4967439"/>
            <a:ext cx="2014537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4967439"/>
            <a:ext cx="3086100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 txBox="1">
            <a:spLocks noChangeArrowheads="1"/>
          </p:cNvSpPr>
          <p:nvPr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67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73" r:id="rId5"/>
    <p:sldLayoutId id="2147483776" r:id="rId6"/>
    <p:sldLayoutId id="2147483771" r:id="rId7"/>
    <p:sldLayoutId id="2147483770" r:id="rId8"/>
    <p:sldLayoutId id="2147483769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80" r:id="rId20"/>
    <p:sldLayoutId id="2147483715" r:id="rId21"/>
    <p:sldLayoutId id="2147483721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79" r:id="rId28"/>
    <p:sldLayoutId id="2147483722" r:id="rId29"/>
    <p:sldLayoutId id="2147483723" r:id="rId30"/>
    <p:sldLayoutId id="2147483732" r:id="rId31"/>
  </p:sldLayoutIdLst>
  <p:transition spd="slow">
    <p:push dir="u"/>
  </p:transition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315" indent="-289315" algn="l" defTabSz="685783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SzPct val="150000"/>
        <a:buFont typeface="Arial" panose="020B0604020202020204" pitchFamily="34" charset="0"/>
        <a:buChar char="•"/>
        <a:tabLst>
          <a:tab pos="272648" algn="l"/>
        </a:tabLst>
        <a:defRPr lang="nl-NL" sz="1200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561961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+mn-cs"/>
        </a:defRPr>
      </a:lvl2pPr>
      <a:lvl3pPr marL="867944" indent="-305984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Arial" panose="020B0604020202020204" pitchFamily="34" charset="0"/>
        <a:buChar char="+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1148925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Courier New" panose="02070309020205020404" pitchFamily="49" charset="0"/>
        <a:buChar char="o"/>
        <a:defRPr sz="12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15000"/>
        <a:buFont typeface="Arial" panose="020B0604020202020204" pitchFamily="34" charset="0"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100" b="0" i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200" b="1" i="0" kern="120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900" i="0" u="none" kern="1200">
          <a:solidFill>
            <a:schemeClr val="tx2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www.google.com/url?sa=i&amp;url=https%3A%2F%2Fmedium.com%2F%40swain.chandan%2Fstatic-program-analysis-its-usage-and-limits-70da0cc2a48c&amp;psig=AOvVaw35_ERzdoR32yOAp-5qYpQN&amp;ust=1695796240409000&amp;source=images&amp;cd=vfe&amp;opi=89978449&amp;ved=0CBAQjRxqFwoTCNDTiLbTx4EDFQAAAAAdAAAAABBH" TargetMode="Externa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hyperlink" Target="https://www.vecteezy.com/vector-art/2309733-silhouette-of-fiction-with-knight-and-dragon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3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5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5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5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5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5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5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5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3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pixabay.com/en/software-testing-service-762486/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3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llia-lebid" TargetMode="External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1423719" y="1"/>
            <a:ext cx="1368152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783"/>
            <a:r>
              <a:rPr lang="en-US" sz="800" b="1" dirty="0">
                <a:solidFill>
                  <a:srgbClr val="F3C000"/>
                </a:solidFill>
              </a:rPr>
              <a:t>TIP!</a:t>
            </a:r>
          </a:p>
          <a:p>
            <a:pPr defTabSz="685783"/>
            <a:r>
              <a:rPr lang="en-US" sz="800" b="1" dirty="0">
                <a:solidFill>
                  <a:srgbClr val="009286"/>
                </a:solidFill>
              </a:rPr>
              <a:t>Keep animation in place</a:t>
            </a:r>
            <a:br>
              <a:rPr lang="en-US" sz="800" b="1" dirty="0">
                <a:solidFill>
                  <a:srgbClr val="009286"/>
                </a:solidFill>
              </a:rPr>
            </a:br>
            <a:r>
              <a:rPr lang="en-US" sz="800" dirty="0">
                <a:solidFill>
                  <a:srgbClr val="009286"/>
                </a:solidFill>
              </a:rPr>
              <a:t>Replace Logo’s by right clicking image and choose “Change Picture…”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-1924567" y="-72635"/>
            <a:ext cx="537210" cy="593874"/>
            <a:chOff x="5713413" y="3175"/>
            <a:chExt cx="6200776" cy="6854826"/>
          </a:xfrm>
          <a:solidFill>
            <a:schemeClr val="bg1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auto">
            <a:xfrm>
              <a:off x="6729413" y="1055688"/>
              <a:ext cx="4168775" cy="5802313"/>
            </a:xfrm>
            <a:custGeom>
              <a:avLst/>
              <a:gdLst>
                <a:gd name="T0" fmla="*/ 829 w 1658"/>
                <a:gd name="T1" fmla="*/ 0 h 2307"/>
                <a:gd name="T2" fmla="*/ 0 w 1658"/>
                <a:gd name="T3" fmla="*/ 802 h 2307"/>
                <a:gd name="T4" fmla="*/ 202 w 1658"/>
                <a:gd name="T5" fmla="*/ 1386 h 2307"/>
                <a:gd name="T6" fmla="*/ 285 w 1658"/>
                <a:gd name="T7" fmla="*/ 1555 h 2307"/>
                <a:gd name="T8" fmla="*/ 439 w 1658"/>
                <a:gd name="T9" fmla="*/ 1831 h 2307"/>
                <a:gd name="T10" fmla="*/ 451 w 1658"/>
                <a:gd name="T11" fmla="*/ 2043 h 2307"/>
                <a:gd name="T12" fmla="*/ 451 w 1658"/>
                <a:gd name="T13" fmla="*/ 2043 h 2307"/>
                <a:gd name="T14" fmla="*/ 622 w 1658"/>
                <a:gd name="T15" fmla="*/ 2223 h 2307"/>
                <a:gd name="T16" fmla="*/ 690 w 1658"/>
                <a:gd name="T17" fmla="*/ 2290 h 2307"/>
                <a:gd name="T18" fmla="*/ 749 w 1658"/>
                <a:gd name="T19" fmla="*/ 2307 h 2307"/>
                <a:gd name="T20" fmla="*/ 909 w 1658"/>
                <a:gd name="T21" fmla="*/ 2307 h 2307"/>
                <a:gd name="T22" fmla="*/ 968 w 1658"/>
                <a:gd name="T23" fmla="*/ 2290 h 2307"/>
                <a:gd name="T24" fmla="*/ 1036 w 1658"/>
                <a:gd name="T25" fmla="*/ 2223 h 2307"/>
                <a:gd name="T26" fmla="*/ 1207 w 1658"/>
                <a:gd name="T27" fmla="*/ 2043 h 2307"/>
                <a:gd name="T28" fmla="*/ 1219 w 1658"/>
                <a:gd name="T29" fmla="*/ 1831 h 2307"/>
                <a:gd name="T30" fmla="*/ 1373 w 1658"/>
                <a:gd name="T31" fmla="*/ 1555 h 2307"/>
                <a:gd name="T32" fmla="*/ 1457 w 1658"/>
                <a:gd name="T33" fmla="*/ 1385 h 2307"/>
                <a:gd name="T34" fmla="*/ 1658 w 1658"/>
                <a:gd name="T35" fmla="*/ 802 h 2307"/>
                <a:gd name="T36" fmla="*/ 829 w 1658"/>
                <a:gd name="T37" fmla="*/ 0 h 2307"/>
                <a:gd name="T38" fmla="*/ 1283 w 1658"/>
                <a:gd name="T39" fmla="*/ 1268 h 2307"/>
                <a:gd name="T40" fmla="*/ 1164 w 1658"/>
                <a:gd name="T41" fmla="*/ 1555 h 2307"/>
                <a:gd name="T42" fmla="*/ 1085 w 1658"/>
                <a:gd name="T43" fmla="*/ 1668 h 2307"/>
                <a:gd name="T44" fmla="*/ 573 w 1658"/>
                <a:gd name="T45" fmla="*/ 1668 h 2307"/>
                <a:gd name="T46" fmla="*/ 494 w 1658"/>
                <a:gd name="T47" fmla="*/ 1555 h 2307"/>
                <a:gd name="T48" fmla="*/ 374 w 1658"/>
                <a:gd name="T49" fmla="*/ 1266 h 2307"/>
                <a:gd name="T50" fmla="*/ 209 w 1658"/>
                <a:gd name="T51" fmla="*/ 802 h 2307"/>
                <a:gd name="T52" fmla="*/ 829 w 1658"/>
                <a:gd name="T53" fmla="*/ 210 h 2307"/>
                <a:gd name="T54" fmla="*/ 1449 w 1658"/>
                <a:gd name="T55" fmla="*/ 802 h 2307"/>
                <a:gd name="T56" fmla="*/ 1283 w 1658"/>
                <a:gd name="T57" fmla="*/ 1268 h 2307"/>
                <a:gd name="T58" fmla="*/ 1283 w 1658"/>
                <a:gd name="T59" fmla="*/ 1268 h 2307"/>
                <a:gd name="T60" fmla="*/ 1283 w 1658"/>
                <a:gd name="T61" fmla="*/ 1268 h 2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58" h="2307">
                  <a:moveTo>
                    <a:pt x="829" y="0"/>
                  </a:moveTo>
                  <a:cubicBezTo>
                    <a:pt x="372" y="0"/>
                    <a:pt x="0" y="360"/>
                    <a:pt x="0" y="802"/>
                  </a:cubicBezTo>
                  <a:cubicBezTo>
                    <a:pt x="0" y="1089"/>
                    <a:pt x="116" y="1260"/>
                    <a:pt x="202" y="1386"/>
                  </a:cubicBezTo>
                  <a:cubicBezTo>
                    <a:pt x="255" y="1463"/>
                    <a:pt x="285" y="1509"/>
                    <a:pt x="285" y="1555"/>
                  </a:cubicBezTo>
                  <a:cubicBezTo>
                    <a:pt x="285" y="1659"/>
                    <a:pt x="340" y="1757"/>
                    <a:pt x="439" y="1831"/>
                  </a:cubicBezTo>
                  <a:cubicBezTo>
                    <a:pt x="442" y="1893"/>
                    <a:pt x="451" y="2043"/>
                    <a:pt x="451" y="2043"/>
                  </a:cubicBezTo>
                  <a:cubicBezTo>
                    <a:pt x="451" y="2043"/>
                    <a:pt x="451" y="2043"/>
                    <a:pt x="451" y="2043"/>
                  </a:cubicBezTo>
                  <a:cubicBezTo>
                    <a:pt x="452" y="2086"/>
                    <a:pt x="475" y="2174"/>
                    <a:pt x="622" y="2223"/>
                  </a:cubicBezTo>
                  <a:cubicBezTo>
                    <a:pt x="640" y="2248"/>
                    <a:pt x="662" y="2271"/>
                    <a:pt x="690" y="2290"/>
                  </a:cubicBezTo>
                  <a:cubicBezTo>
                    <a:pt x="707" y="2301"/>
                    <a:pt x="728" y="2307"/>
                    <a:pt x="749" y="2307"/>
                  </a:cubicBezTo>
                  <a:cubicBezTo>
                    <a:pt x="909" y="2307"/>
                    <a:pt x="909" y="2307"/>
                    <a:pt x="909" y="2307"/>
                  </a:cubicBezTo>
                  <a:cubicBezTo>
                    <a:pt x="930" y="2307"/>
                    <a:pt x="950" y="2301"/>
                    <a:pt x="968" y="2290"/>
                  </a:cubicBezTo>
                  <a:cubicBezTo>
                    <a:pt x="995" y="2271"/>
                    <a:pt x="1018" y="2248"/>
                    <a:pt x="1036" y="2223"/>
                  </a:cubicBezTo>
                  <a:cubicBezTo>
                    <a:pt x="1184" y="2173"/>
                    <a:pt x="1206" y="2085"/>
                    <a:pt x="1207" y="2043"/>
                  </a:cubicBezTo>
                  <a:cubicBezTo>
                    <a:pt x="1207" y="2043"/>
                    <a:pt x="1216" y="1893"/>
                    <a:pt x="1219" y="1831"/>
                  </a:cubicBezTo>
                  <a:cubicBezTo>
                    <a:pt x="1318" y="1758"/>
                    <a:pt x="1373" y="1659"/>
                    <a:pt x="1373" y="1555"/>
                  </a:cubicBezTo>
                  <a:cubicBezTo>
                    <a:pt x="1373" y="1509"/>
                    <a:pt x="1403" y="1463"/>
                    <a:pt x="1457" y="1385"/>
                  </a:cubicBezTo>
                  <a:cubicBezTo>
                    <a:pt x="1542" y="1260"/>
                    <a:pt x="1658" y="1089"/>
                    <a:pt x="1658" y="802"/>
                  </a:cubicBezTo>
                  <a:cubicBezTo>
                    <a:pt x="1658" y="360"/>
                    <a:pt x="1286" y="0"/>
                    <a:pt x="829" y="0"/>
                  </a:cubicBezTo>
                  <a:close/>
                  <a:moveTo>
                    <a:pt x="1283" y="1268"/>
                  </a:moveTo>
                  <a:cubicBezTo>
                    <a:pt x="1221" y="1357"/>
                    <a:pt x="1164" y="1442"/>
                    <a:pt x="1164" y="1555"/>
                  </a:cubicBezTo>
                  <a:cubicBezTo>
                    <a:pt x="1164" y="1605"/>
                    <a:pt x="1119" y="1645"/>
                    <a:pt x="1085" y="1668"/>
                  </a:cubicBezTo>
                  <a:cubicBezTo>
                    <a:pt x="573" y="1668"/>
                    <a:pt x="573" y="1668"/>
                    <a:pt x="573" y="1668"/>
                  </a:cubicBezTo>
                  <a:cubicBezTo>
                    <a:pt x="539" y="1645"/>
                    <a:pt x="494" y="1605"/>
                    <a:pt x="494" y="1555"/>
                  </a:cubicBezTo>
                  <a:cubicBezTo>
                    <a:pt x="494" y="1442"/>
                    <a:pt x="436" y="1357"/>
                    <a:pt x="374" y="1266"/>
                  </a:cubicBezTo>
                  <a:cubicBezTo>
                    <a:pt x="297" y="1153"/>
                    <a:pt x="209" y="1024"/>
                    <a:pt x="209" y="802"/>
                  </a:cubicBezTo>
                  <a:cubicBezTo>
                    <a:pt x="209" y="476"/>
                    <a:pt x="487" y="210"/>
                    <a:pt x="829" y="210"/>
                  </a:cubicBezTo>
                  <a:cubicBezTo>
                    <a:pt x="1171" y="210"/>
                    <a:pt x="1449" y="476"/>
                    <a:pt x="1449" y="802"/>
                  </a:cubicBezTo>
                  <a:cubicBezTo>
                    <a:pt x="1449" y="1025"/>
                    <a:pt x="1361" y="1153"/>
                    <a:pt x="1283" y="1268"/>
                  </a:cubicBezTo>
                  <a:close/>
                  <a:moveTo>
                    <a:pt x="1283" y="1268"/>
                  </a:moveTo>
                  <a:cubicBezTo>
                    <a:pt x="1283" y="1268"/>
                    <a:pt x="1283" y="1268"/>
                    <a:pt x="1283" y="12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8680451" y="3175"/>
              <a:ext cx="263525" cy="658813"/>
            </a:xfrm>
            <a:custGeom>
              <a:avLst/>
              <a:gdLst>
                <a:gd name="T0" fmla="*/ 53 w 105"/>
                <a:gd name="T1" fmla="*/ 262 h 262"/>
                <a:gd name="T2" fmla="*/ 105 w 105"/>
                <a:gd name="T3" fmla="*/ 210 h 262"/>
                <a:gd name="T4" fmla="*/ 105 w 105"/>
                <a:gd name="T5" fmla="*/ 52 h 262"/>
                <a:gd name="T6" fmla="*/ 53 w 105"/>
                <a:gd name="T7" fmla="*/ 0 h 262"/>
                <a:gd name="T8" fmla="*/ 0 w 105"/>
                <a:gd name="T9" fmla="*/ 52 h 262"/>
                <a:gd name="T10" fmla="*/ 0 w 105"/>
                <a:gd name="T11" fmla="*/ 210 h 262"/>
                <a:gd name="T12" fmla="*/ 53 w 105"/>
                <a:gd name="T13" fmla="*/ 262 h 262"/>
                <a:gd name="T14" fmla="*/ 53 w 105"/>
                <a:gd name="T15" fmla="*/ 262 h 262"/>
                <a:gd name="T16" fmla="*/ 53 w 105"/>
                <a:gd name="T17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62">
                  <a:moveTo>
                    <a:pt x="53" y="262"/>
                  </a:moveTo>
                  <a:cubicBezTo>
                    <a:pt x="82" y="262"/>
                    <a:pt x="105" y="239"/>
                    <a:pt x="105" y="210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5" y="24"/>
                    <a:pt x="82" y="0"/>
                    <a:pt x="53" y="0"/>
                  </a:cubicBezTo>
                  <a:cubicBezTo>
                    <a:pt x="24" y="0"/>
                    <a:pt x="0" y="24"/>
                    <a:pt x="0" y="52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39"/>
                    <a:pt x="24" y="262"/>
                    <a:pt x="53" y="262"/>
                  </a:cubicBezTo>
                  <a:close/>
                  <a:moveTo>
                    <a:pt x="53" y="262"/>
                  </a:moveTo>
                  <a:cubicBezTo>
                    <a:pt x="53" y="262"/>
                    <a:pt x="53" y="262"/>
                    <a:pt x="53" y="2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7178676" y="382588"/>
              <a:ext cx="498475" cy="623888"/>
            </a:xfrm>
            <a:custGeom>
              <a:avLst/>
              <a:gdLst>
                <a:gd name="T0" fmla="*/ 93 w 198"/>
                <a:gd name="T1" fmla="*/ 222 h 248"/>
                <a:gd name="T2" fmla="*/ 138 w 198"/>
                <a:gd name="T3" fmla="*/ 248 h 248"/>
                <a:gd name="T4" fmla="*/ 164 w 198"/>
                <a:gd name="T5" fmla="*/ 241 h 248"/>
                <a:gd name="T6" fmla="*/ 184 w 198"/>
                <a:gd name="T7" fmla="*/ 170 h 248"/>
                <a:gd name="T8" fmla="*/ 105 w 198"/>
                <a:gd name="T9" fmla="*/ 33 h 248"/>
                <a:gd name="T10" fmla="*/ 33 w 198"/>
                <a:gd name="T11" fmla="*/ 14 h 248"/>
                <a:gd name="T12" fmla="*/ 14 w 198"/>
                <a:gd name="T13" fmla="*/ 86 h 248"/>
                <a:gd name="T14" fmla="*/ 93 w 198"/>
                <a:gd name="T15" fmla="*/ 222 h 248"/>
                <a:gd name="T16" fmla="*/ 93 w 198"/>
                <a:gd name="T17" fmla="*/ 222 h 248"/>
                <a:gd name="T18" fmla="*/ 93 w 198"/>
                <a:gd name="T19" fmla="*/ 22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93" y="222"/>
                  </a:moveTo>
                  <a:cubicBezTo>
                    <a:pt x="103" y="239"/>
                    <a:pt x="120" y="248"/>
                    <a:pt x="138" y="248"/>
                  </a:cubicBezTo>
                  <a:cubicBezTo>
                    <a:pt x="147" y="248"/>
                    <a:pt x="156" y="246"/>
                    <a:pt x="164" y="241"/>
                  </a:cubicBezTo>
                  <a:cubicBezTo>
                    <a:pt x="190" y="227"/>
                    <a:pt x="198" y="195"/>
                    <a:pt x="184" y="170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91" y="8"/>
                    <a:pt x="59" y="0"/>
                    <a:pt x="33" y="14"/>
                  </a:cubicBezTo>
                  <a:cubicBezTo>
                    <a:pt x="8" y="29"/>
                    <a:pt x="0" y="61"/>
                    <a:pt x="14" y="86"/>
                  </a:cubicBezTo>
                  <a:lnTo>
                    <a:pt x="93" y="222"/>
                  </a:lnTo>
                  <a:close/>
                  <a:moveTo>
                    <a:pt x="93" y="222"/>
                  </a:moveTo>
                  <a:cubicBezTo>
                    <a:pt x="93" y="222"/>
                    <a:pt x="93" y="222"/>
                    <a:pt x="93" y="2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/>
          </p:nvSpPr>
          <p:spPr bwMode="auto">
            <a:xfrm>
              <a:off x="6092826" y="1468438"/>
              <a:ext cx="644525" cy="481013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4 w 256"/>
                <a:gd name="T5" fmla="*/ 34 h 191"/>
                <a:gd name="T6" fmla="*/ 33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1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4" y="34"/>
                  </a:cubicBezTo>
                  <a:cubicBezTo>
                    <a:pt x="0" y="59"/>
                    <a:pt x="8" y="91"/>
                    <a:pt x="33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9"/>
                    <a:pt x="187" y="191"/>
                    <a:pt x="196" y="191"/>
                  </a:cubicBezTo>
                  <a:cubicBezTo>
                    <a:pt x="214" y="191"/>
                    <a:pt x="231" y="181"/>
                    <a:pt x="241" y="164"/>
                  </a:cubicBezTo>
                  <a:cubicBezTo>
                    <a:pt x="256" y="140"/>
                    <a:pt x="247" y="108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5713413" y="2970213"/>
              <a:ext cx="658813" cy="263525"/>
            </a:xfrm>
            <a:custGeom>
              <a:avLst/>
              <a:gdLst>
                <a:gd name="T0" fmla="*/ 262 w 262"/>
                <a:gd name="T1" fmla="*/ 53 h 105"/>
                <a:gd name="T2" fmla="*/ 210 w 262"/>
                <a:gd name="T3" fmla="*/ 0 h 105"/>
                <a:gd name="T4" fmla="*/ 52 w 262"/>
                <a:gd name="T5" fmla="*/ 0 h 105"/>
                <a:gd name="T6" fmla="*/ 0 w 262"/>
                <a:gd name="T7" fmla="*/ 53 h 105"/>
                <a:gd name="T8" fmla="*/ 52 w 262"/>
                <a:gd name="T9" fmla="*/ 105 h 105"/>
                <a:gd name="T10" fmla="*/ 210 w 262"/>
                <a:gd name="T11" fmla="*/ 105 h 105"/>
                <a:gd name="T12" fmla="*/ 262 w 262"/>
                <a:gd name="T13" fmla="*/ 53 h 105"/>
                <a:gd name="T14" fmla="*/ 262 w 262"/>
                <a:gd name="T15" fmla="*/ 53 h 105"/>
                <a:gd name="T16" fmla="*/ 262 w 262"/>
                <a:gd name="T17" fmla="*/ 5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62" y="53"/>
                  </a:moveTo>
                  <a:cubicBezTo>
                    <a:pt x="262" y="24"/>
                    <a:pt x="239" y="0"/>
                    <a:pt x="210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39" y="105"/>
                    <a:pt x="262" y="82"/>
                    <a:pt x="262" y="53"/>
                  </a:cubicBezTo>
                  <a:close/>
                  <a:moveTo>
                    <a:pt x="262" y="53"/>
                  </a:moveTo>
                  <a:cubicBezTo>
                    <a:pt x="262" y="53"/>
                    <a:pt x="262" y="53"/>
                    <a:pt x="262" y="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6092826" y="4240213"/>
              <a:ext cx="644525" cy="479425"/>
            </a:xfrm>
            <a:custGeom>
              <a:avLst/>
              <a:gdLst>
                <a:gd name="T0" fmla="*/ 170 w 256"/>
                <a:gd name="T1" fmla="*/ 14 h 191"/>
                <a:gd name="T2" fmla="*/ 33 w 256"/>
                <a:gd name="T3" fmla="*/ 93 h 191"/>
                <a:gd name="T4" fmla="*/ 14 w 256"/>
                <a:gd name="T5" fmla="*/ 164 h 191"/>
                <a:gd name="T6" fmla="*/ 59 w 256"/>
                <a:gd name="T7" fmla="*/ 191 h 191"/>
                <a:gd name="T8" fmla="*/ 86 w 256"/>
                <a:gd name="T9" fmla="*/ 184 h 191"/>
                <a:gd name="T10" fmla="*/ 222 w 256"/>
                <a:gd name="T11" fmla="*/ 105 h 191"/>
                <a:gd name="T12" fmla="*/ 241 w 256"/>
                <a:gd name="T13" fmla="*/ 33 h 191"/>
                <a:gd name="T14" fmla="*/ 170 w 256"/>
                <a:gd name="T15" fmla="*/ 14 h 191"/>
                <a:gd name="T16" fmla="*/ 170 w 256"/>
                <a:gd name="T17" fmla="*/ 14 h 191"/>
                <a:gd name="T18" fmla="*/ 170 w 256"/>
                <a:gd name="T19" fmla="*/ 1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170" y="14"/>
                  </a:moveTo>
                  <a:cubicBezTo>
                    <a:pt x="33" y="93"/>
                    <a:pt x="33" y="93"/>
                    <a:pt x="33" y="93"/>
                  </a:cubicBezTo>
                  <a:cubicBezTo>
                    <a:pt x="8" y="107"/>
                    <a:pt x="0" y="139"/>
                    <a:pt x="14" y="164"/>
                  </a:cubicBezTo>
                  <a:cubicBezTo>
                    <a:pt x="24" y="181"/>
                    <a:pt x="42" y="191"/>
                    <a:pt x="59" y="191"/>
                  </a:cubicBezTo>
                  <a:cubicBezTo>
                    <a:pt x="68" y="191"/>
                    <a:pt x="78" y="188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7" y="90"/>
                    <a:pt x="256" y="58"/>
                    <a:pt x="241" y="33"/>
                  </a:cubicBezTo>
                  <a:cubicBezTo>
                    <a:pt x="227" y="8"/>
                    <a:pt x="195" y="0"/>
                    <a:pt x="170" y="14"/>
                  </a:cubicBezTo>
                  <a:close/>
                  <a:moveTo>
                    <a:pt x="170" y="14"/>
                  </a:moveTo>
                  <a:cubicBezTo>
                    <a:pt x="170" y="14"/>
                    <a:pt x="170" y="14"/>
                    <a:pt x="170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auto">
            <a:xfrm>
              <a:off x="10890251" y="4240213"/>
              <a:ext cx="644525" cy="479425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5 w 256"/>
                <a:gd name="T5" fmla="*/ 33 h 191"/>
                <a:gd name="T6" fmla="*/ 34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2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5" y="33"/>
                  </a:cubicBezTo>
                  <a:cubicBezTo>
                    <a:pt x="0" y="58"/>
                    <a:pt x="9" y="90"/>
                    <a:pt x="34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8"/>
                    <a:pt x="187" y="191"/>
                    <a:pt x="196" y="191"/>
                  </a:cubicBezTo>
                  <a:cubicBezTo>
                    <a:pt x="214" y="191"/>
                    <a:pt x="232" y="181"/>
                    <a:pt x="242" y="164"/>
                  </a:cubicBezTo>
                  <a:cubicBezTo>
                    <a:pt x="256" y="139"/>
                    <a:pt x="248" y="107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11255376" y="2970213"/>
              <a:ext cx="658813" cy="263525"/>
            </a:xfrm>
            <a:custGeom>
              <a:avLst/>
              <a:gdLst>
                <a:gd name="T0" fmla="*/ 209 w 262"/>
                <a:gd name="T1" fmla="*/ 0 h 105"/>
                <a:gd name="T2" fmla="*/ 52 w 262"/>
                <a:gd name="T3" fmla="*/ 0 h 105"/>
                <a:gd name="T4" fmla="*/ 0 w 262"/>
                <a:gd name="T5" fmla="*/ 53 h 105"/>
                <a:gd name="T6" fmla="*/ 52 w 262"/>
                <a:gd name="T7" fmla="*/ 105 h 105"/>
                <a:gd name="T8" fmla="*/ 209 w 262"/>
                <a:gd name="T9" fmla="*/ 105 h 105"/>
                <a:gd name="T10" fmla="*/ 262 w 262"/>
                <a:gd name="T11" fmla="*/ 53 h 105"/>
                <a:gd name="T12" fmla="*/ 209 w 262"/>
                <a:gd name="T13" fmla="*/ 0 h 105"/>
                <a:gd name="T14" fmla="*/ 209 w 262"/>
                <a:gd name="T15" fmla="*/ 0 h 105"/>
                <a:gd name="T16" fmla="*/ 209 w 262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09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38" y="105"/>
                    <a:pt x="262" y="82"/>
                    <a:pt x="262" y="53"/>
                  </a:cubicBezTo>
                  <a:cubicBezTo>
                    <a:pt x="262" y="24"/>
                    <a:pt x="238" y="0"/>
                    <a:pt x="209" y="0"/>
                  </a:cubicBezTo>
                  <a:close/>
                  <a:moveTo>
                    <a:pt x="209" y="0"/>
                  </a:moveTo>
                  <a:cubicBezTo>
                    <a:pt x="209" y="0"/>
                    <a:pt x="209" y="0"/>
                    <a:pt x="20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0890251" y="1468438"/>
              <a:ext cx="644525" cy="481013"/>
            </a:xfrm>
            <a:custGeom>
              <a:avLst/>
              <a:gdLst>
                <a:gd name="T0" fmla="*/ 60 w 256"/>
                <a:gd name="T1" fmla="*/ 191 h 191"/>
                <a:gd name="T2" fmla="*/ 86 w 256"/>
                <a:gd name="T3" fmla="*/ 184 h 191"/>
                <a:gd name="T4" fmla="*/ 222 w 256"/>
                <a:gd name="T5" fmla="*/ 105 h 191"/>
                <a:gd name="T6" fmla="*/ 242 w 256"/>
                <a:gd name="T7" fmla="*/ 34 h 191"/>
                <a:gd name="T8" fmla="*/ 170 w 256"/>
                <a:gd name="T9" fmla="*/ 14 h 191"/>
                <a:gd name="T10" fmla="*/ 34 w 256"/>
                <a:gd name="T11" fmla="*/ 93 h 191"/>
                <a:gd name="T12" fmla="*/ 15 w 256"/>
                <a:gd name="T13" fmla="*/ 164 h 191"/>
                <a:gd name="T14" fmla="*/ 60 w 256"/>
                <a:gd name="T15" fmla="*/ 191 h 191"/>
                <a:gd name="T16" fmla="*/ 60 w 256"/>
                <a:gd name="T17" fmla="*/ 191 h 191"/>
                <a:gd name="T18" fmla="*/ 60 w 256"/>
                <a:gd name="T19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60" y="191"/>
                  </a:moveTo>
                  <a:cubicBezTo>
                    <a:pt x="69" y="191"/>
                    <a:pt x="78" y="189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8" y="91"/>
                    <a:pt x="256" y="59"/>
                    <a:pt x="242" y="34"/>
                  </a:cubicBezTo>
                  <a:cubicBezTo>
                    <a:pt x="227" y="8"/>
                    <a:pt x="195" y="0"/>
                    <a:pt x="170" y="14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9" y="108"/>
                    <a:pt x="0" y="140"/>
                    <a:pt x="15" y="164"/>
                  </a:cubicBezTo>
                  <a:cubicBezTo>
                    <a:pt x="24" y="181"/>
                    <a:pt x="42" y="191"/>
                    <a:pt x="60" y="191"/>
                  </a:cubicBezTo>
                  <a:close/>
                  <a:moveTo>
                    <a:pt x="60" y="191"/>
                  </a:moveTo>
                  <a:cubicBezTo>
                    <a:pt x="60" y="191"/>
                    <a:pt x="60" y="191"/>
                    <a:pt x="60" y="1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auto">
            <a:xfrm>
              <a:off x="9950451" y="382588"/>
              <a:ext cx="498475" cy="623888"/>
            </a:xfrm>
            <a:custGeom>
              <a:avLst/>
              <a:gdLst>
                <a:gd name="T0" fmla="*/ 33 w 198"/>
                <a:gd name="T1" fmla="*/ 241 h 248"/>
                <a:gd name="T2" fmla="*/ 59 w 198"/>
                <a:gd name="T3" fmla="*/ 248 h 248"/>
                <a:gd name="T4" fmla="*/ 105 w 198"/>
                <a:gd name="T5" fmla="*/ 222 h 248"/>
                <a:gd name="T6" fmla="*/ 183 w 198"/>
                <a:gd name="T7" fmla="*/ 86 h 248"/>
                <a:gd name="T8" fmla="*/ 164 w 198"/>
                <a:gd name="T9" fmla="*/ 14 h 248"/>
                <a:gd name="T10" fmla="*/ 93 w 198"/>
                <a:gd name="T11" fmla="*/ 33 h 248"/>
                <a:gd name="T12" fmla="*/ 14 w 198"/>
                <a:gd name="T13" fmla="*/ 170 h 248"/>
                <a:gd name="T14" fmla="*/ 33 w 198"/>
                <a:gd name="T15" fmla="*/ 241 h 248"/>
                <a:gd name="T16" fmla="*/ 33 w 198"/>
                <a:gd name="T17" fmla="*/ 241 h 248"/>
                <a:gd name="T18" fmla="*/ 33 w 198"/>
                <a:gd name="T19" fmla="*/ 24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33" y="241"/>
                  </a:moveTo>
                  <a:cubicBezTo>
                    <a:pt x="42" y="246"/>
                    <a:pt x="51" y="248"/>
                    <a:pt x="59" y="248"/>
                  </a:cubicBezTo>
                  <a:cubicBezTo>
                    <a:pt x="78" y="248"/>
                    <a:pt x="95" y="239"/>
                    <a:pt x="105" y="222"/>
                  </a:cubicBezTo>
                  <a:cubicBezTo>
                    <a:pt x="183" y="86"/>
                    <a:pt x="183" y="86"/>
                    <a:pt x="183" y="86"/>
                  </a:cubicBezTo>
                  <a:cubicBezTo>
                    <a:pt x="198" y="61"/>
                    <a:pt x="189" y="29"/>
                    <a:pt x="164" y="14"/>
                  </a:cubicBezTo>
                  <a:cubicBezTo>
                    <a:pt x="139" y="0"/>
                    <a:pt x="107" y="8"/>
                    <a:pt x="93" y="33"/>
                  </a:cubicBezTo>
                  <a:cubicBezTo>
                    <a:pt x="14" y="170"/>
                    <a:pt x="14" y="170"/>
                    <a:pt x="14" y="170"/>
                  </a:cubicBezTo>
                  <a:cubicBezTo>
                    <a:pt x="0" y="195"/>
                    <a:pt x="8" y="227"/>
                    <a:pt x="33" y="241"/>
                  </a:cubicBezTo>
                  <a:close/>
                  <a:moveTo>
                    <a:pt x="33" y="241"/>
                  </a:moveTo>
                  <a:cubicBezTo>
                    <a:pt x="33" y="241"/>
                    <a:pt x="33" y="241"/>
                    <a:pt x="33" y="2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3" name="Freeform 15"/>
            <p:cNvSpPr>
              <a:spLocks noEditPoints="1"/>
            </p:cNvSpPr>
            <p:nvPr/>
          </p:nvSpPr>
          <p:spPr bwMode="auto">
            <a:xfrm>
              <a:off x="8496301" y="1993900"/>
              <a:ext cx="635000" cy="2054225"/>
            </a:xfrm>
            <a:custGeom>
              <a:avLst/>
              <a:gdLst>
                <a:gd name="T0" fmla="*/ 56 w 252"/>
                <a:gd name="T1" fmla="*/ 758 h 817"/>
                <a:gd name="T2" fmla="*/ 126 w 252"/>
                <a:gd name="T3" fmla="*/ 817 h 817"/>
                <a:gd name="T4" fmla="*/ 196 w 252"/>
                <a:gd name="T5" fmla="*/ 758 h 817"/>
                <a:gd name="T6" fmla="*/ 246 w 252"/>
                <a:gd name="T7" fmla="*/ 384 h 817"/>
                <a:gd name="T8" fmla="*/ 252 w 252"/>
                <a:gd name="T9" fmla="*/ 309 h 817"/>
                <a:gd name="T10" fmla="*/ 252 w 252"/>
                <a:gd name="T11" fmla="*/ 123 h 817"/>
                <a:gd name="T12" fmla="*/ 126 w 252"/>
                <a:gd name="T13" fmla="*/ 0 h 817"/>
                <a:gd name="T14" fmla="*/ 0 w 252"/>
                <a:gd name="T15" fmla="*/ 123 h 817"/>
                <a:gd name="T16" fmla="*/ 0 w 252"/>
                <a:gd name="T17" fmla="*/ 309 h 817"/>
                <a:gd name="T18" fmla="*/ 6 w 252"/>
                <a:gd name="T19" fmla="*/ 384 h 817"/>
                <a:gd name="T20" fmla="*/ 56 w 252"/>
                <a:gd name="T21" fmla="*/ 758 h 817"/>
                <a:gd name="T22" fmla="*/ 56 w 252"/>
                <a:gd name="T23" fmla="*/ 758 h 817"/>
                <a:gd name="T24" fmla="*/ 56 w 252"/>
                <a:gd name="T25" fmla="*/ 758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2" h="817">
                  <a:moveTo>
                    <a:pt x="56" y="758"/>
                  </a:moveTo>
                  <a:cubicBezTo>
                    <a:pt x="62" y="804"/>
                    <a:pt x="84" y="817"/>
                    <a:pt x="126" y="817"/>
                  </a:cubicBezTo>
                  <a:cubicBezTo>
                    <a:pt x="167" y="817"/>
                    <a:pt x="190" y="804"/>
                    <a:pt x="196" y="758"/>
                  </a:cubicBezTo>
                  <a:cubicBezTo>
                    <a:pt x="246" y="384"/>
                    <a:pt x="246" y="384"/>
                    <a:pt x="246" y="384"/>
                  </a:cubicBezTo>
                  <a:cubicBezTo>
                    <a:pt x="249" y="358"/>
                    <a:pt x="252" y="332"/>
                    <a:pt x="252" y="309"/>
                  </a:cubicBezTo>
                  <a:cubicBezTo>
                    <a:pt x="252" y="123"/>
                    <a:pt x="252" y="123"/>
                    <a:pt x="252" y="123"/>
                  </a:cubicBezTo>
                  <a:cubicBezTo>
                    <a:pt x="252" y="42"/>
                    <a:pt x="206" y="0"/>
                    <a:pt x="126" y="0"/>
                  </a:cubicBezTo>
                  <a:cubicBezTo>
                    <a:pt x="46" y="0"/>
                    <a:pt x="0" y="42"/>
                    <a:pt x="0" y="123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32"/>
                    <a:pt x="3" y="358"/>
                    <a:pt x="6" y="384"/>
                  </a:cubicBezTo>
                  <a:lnTo>
                    <a:pt x="56" y="758"/>
                  </a:lnTo>
                  <a:close/>
                  <a:moveTo>
                    <a:pt x="56" y="758"/>
                  </a:moveTo>
                  <a:cubicBezTo>
                    <a:pt x="56" y="758"/>
                    <a:pt x="56" y="758"/>
                    <a:pt x="56" y="7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4" name="Freeform 16"/>
            <p:cNvSpPr>
              <a:spLocks noEditPoints="1"/>
            </p:cNvSpPr>
            <p:nvPr/>
          </p:nvSpPr>
          <p:spPr bwMode="auto">
            <a:xfrm>
              <a:off x="8485188" y="4310063"/>
              <a:ext cx="657225" cy="658813"/>
            </a:xfrm>
            <a:custGeom>
              <a:avLst/>
              <a:gdLst>
                <a:gd name="T0" fmla="*/ 131 w 262"/>
                <a:gd name="T1" fmla="*/ 0 h 262"/>
                <a:gd name="T2" fmla="*/ 0 w 262"/>
                <a:gd name="T3" fmla="*/ 131 h 262"/>
                <a:gd name="T4" fmla="*/ 131 w 262"/>
                <a:gd name="T5" fmla="*/ 262 h 262"/>
                <a:gd name="T6" fmla="*/ 262 w 262"/>
                <a:gd name="T7" fmla="*/ 131 h 262"/>
                <a:gd name="T8" fmla="*/ 131 w 262"/>
                <a:gd name="T9" fmla="*/ 0 h 262"/>
                <a:gd name="T10" fmla="*/ 131 w 262"/>
                <a:gd name="T11" fmla="*/ 0 h 262"/>
                <a:gd name="T12" fmla="*/ 131 w 262"/>
                <a:gd name="T13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" h="262">
                  <a:moveTo>
                    <a:pt x="131" y="0"/>
                  </a:moveTo>
                  <a:cubicBezTo>
                    <a:pt x="59" y="0"/>
                    <a:pt x="0" y="59"/>
                    <a:pt x="0" y="131"/>
                  </a:cubicBezTo>
                  <a:cubicBezTo>
                    <a:pt x="0" y="202"/>
                    <a:pt x="59" y="262"/>
                    <a:pt x="131" y="262"/>
                  </a:cubicBezTo>
                  <a:cubicBezTo>
                    <a:pt x="203" y="262"/>
                    <a:pt x="262" y="202"/>
                    <a:pt x="262" y="131"/>
                  </a:cubicBezTo>
                  <a:cubicBezTo>
                    <a:pt x="262" y="59"/>
                    <a:pt x="203" y="0"/>
                    <a:pt x="131" y="0"/>
                  </a:cubicBezTo>
                  <a:close/>
                  <a:moveTo>
                    <a:pt x="131" y="0"/>
                  </a:moveTo>
                  <a:cubicBezTo>
                    <a:pt x="131" y="0"/>
                    <a:pt x="131" y="0"/>
                    <a:pt x="13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28F005B5-32DE-DB16-FDD6-8D63BC20A305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0420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14958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rgbClr val="D6D6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9347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786330"/>
              </p:ext>
            </p:extLst>
          </p:nvPr>
        </p:nvGraphicFramePr>
        <p:xfrm>
          <a:off x="348860" y="915566"/>
          <a:ext cx="8440338" cy="39604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863100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624910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716644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1587612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2000" b="1" dirty="0">
                          <a:solidFill>
                            <a:schemeClr val="bg2"/>
                          </a:solidFill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1656184">
                <a:tc>
                  <a:txBody>
                    <a:bodyPr/>
                    <a:lstStyle/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2000" b="1" dirty="0">
                          <a:solidFill>
                            <a:srgbClr val="C00000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4537689"/>
                  </a:ext>
                </a:extLst>
              </a:tr>
            </a:tbl>
          </a:graphicData>
        </a:graphic>
      </p:graphicFrame>
      <p:pic>
        <p:nvPicPr>
          <p:cNvPr id="5" name="Picture 4" descr="Worn mallet on concrete">
            <a:extLst>
              <a:ext uri="{FF2B5EF4-FFF2-40B4-BE49-F238E27FC236}">
                <a16:creationId xmlns:a16="http://schemas.microsoft.com/office/drawing/2014/main" id="{E47A9995-2974-084B-DC43-641B3145B0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39999" y="1779536"/>
            <a:ext cx="864097" cy="1296395"/>
          </a:xfrm>
          <a:prstGeom prst="rect">
            <a:avLst/>
          </a:prstGeom>
        </p:spPr>
      </p:pic>
      <p:pic>
        <p:nvPicPr>
          <p:cNvPr id="6146" name="Picture 2" descr="The Broken Things I Kept… | Life, the Obstacle Course">
            <a:extLst>
              <a:ext uri="{FF2B5EF4-FFF2-40B4-BE49-F238E27FC236}">
                <a16:creationId xmlns:a16="http://schemas.microsoft.com/office/drawing/2014/main" id="{0BC466FF-E2B9-8867-8263-8BBFA00AF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813185"/>
            <a:ext cx="1847005" cy="122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Yellow Ceramic Cup Stock Photo - Download Image Now - Coffee Cup, Mug,  Yellow - iStock">
            <a:extLst>
              <a:ext uri="{FF2B5EF4-FFF2-40B4-BE49-F238E27FC236}">
                <a16:creationId xmlns:a16="http://schemas.microsoft.com/office/drawing/2014/main" id="{AA69EFD8-441E-EABD-F176-1A4991C84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855" y="1976434"/>
            <a:ext cx="1296395" cy="883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s ionizing radiation always harmful? | Science Questions with Surprising  Answers">
            <a:extLst>
              <a:ext uri="{FF2B5EF4-FFF2-40B4-BE49-F238E27FC236}">
                <a16:creationId xmlns:a16="http://schemas.microsoft.com/office/drawing/2014/main" id="{E065E95D-9F50-879D-E18C-3A84C51180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998" y="3633774"/>
            <a:ext cx="864098" cy="864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ow to Draw a Human - Easy Drawing Art">
            <a:extLst>
              <a:ext uri="{FF2B5EF4-FFF2-40B4-BE49-F238E27FC236}">
                <a16:creationId xmlns:a16="http://schemas.microsoft.com/office/drawing/2014/main" id="{80D06BA9-A1C2-25FD-A3C0-3AE53D5559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7675" y="3407321"/>
            <a:ext cx="1296394" cy="1296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The Hulk from Marvel Cinematic Universe | CharacTour">
            <a:extLst>
              <a:ext uri="{FF2B5EF4-FFF2-40B4-BE49-F238E27FC236}">
                <a16:creationId xmlns:a16="http://schemas.microsoft.com/office/drawing/2014/main" id="{06BABF48-6509-C6AF-F026-EEF40AF0BE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8" t="-1773" r="10644" b="1773"/>
          <a:stretch/>
        </p:blipFill>
        <p:spPr bwMode="auto">
          <a:xfrm>
            <a:off x="4809405" y="3446065"/>
            <a:ext cx="1797568" cy="122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lus 7">
            <a:extLst>
              <a:ext uri="{FF2B5EF4-FFF2-40B4-BE49-F238E27FC236}">
                <a16:creationId xmlns:a16="http://schemas.microsoft.com/office/drawing/2014/main" id="{1853F839-9720-F293-FCE8-DEB16B40BBC5}"/>
              </a:ext>
            </a:extLst>
          </p:cNvPr>
          <p:cNvSpPr/>
          <p:nvPr/>
        </p:nvSpPr>
        <p:spPr>
          <a:xfrm>
            <a:off x="2153619" y="2175705"/>
            <a:ext cx="504056" cy="504056"/>
          </a:xfrm>
          <a:prstGeom prst="math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" name="Plus 8">
            <a:extLst>
              <a:ext uri="{FF2B5EF4-FFF2-40B4-BE49-F238E27FC236}">
                <a16:creationId xmlns:a16="http://schemas.microsoft.com/office/drawing/2014/main" id="{D7ABD9CF-7FF6-5BBA-176E-30B112578092}"/>
              </a:ext>
            </a:extLst>
          </p:cNvPr>
          <p:cNvSpPr/>
          <p:nvPr/>
        </p:nvSpPr>
        <p:spPr>
          <a:xfrm>
            <a:off x="2153619" y="3808586"/>
            <a:ext cx="504056" cy="504056"/>
          </a:xfrm>
          <a:prstGeom prst="math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82152308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059582"/>
            <a:ext cx="5385668" cy="357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5947086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</a:t>
            </a:r>
          </a:p>
        </p:txBody>
      </p:sp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1D958EED-2373-ED41-4482-9CB1B38C051D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1904732" y="1186095"/>
            <a:ext cx="5328592" cy="35248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3934050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tegration with the pipe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6665D5-6635-2BB5-DF8B-9AF3002F05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860" y="2167764"/>
            <a:ext cx="8440337" cy="82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493063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xample tim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740F43B-428C-1511-9505-4C6EF9F08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5946" y="699542"/>
            <a:ext cx="5966163" cy="4361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980670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ipeline and static tests</a:t>
            </a:r>
          </a:p>
        </p:txBody>
      </p:sp>
      <p:sp>
        <p:nvSpPr>
          <p:cNvPr id="5" name="Plus 4">
            <a:extLst>
              <a:ext uri="{FF2B5EF4-FFF2-40B4-BE49-F238E27FC236}">
                <a16:creationId xmlns:a16="http://schemas.microsoft.com/office/drawing/2014/main" id="{AD02C4DB-E4D9-51EC-FA3B-3DB2268E4CA4}"/>
              </a:ext>
            </a:extLst>
          </p:cNvPr>
          <p:cNvSpPr/>
          <p:nvPr/>
        </p:nvSpPr>
        <p:spPr>
          <a:xfrm>
            <a:off x="4283968" y="2226560"/>
            <a:ext cx="1224136" cy="1296144"/>
          </a:xfrm>
          <a:prstGeom prst="mathPlus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20482" name="Picture 2" descr="Static Program Analysis: Its Usage And Limits | by Siddharth Swain | Medium">
            <a:hlinkClick r:id="rId2"/>
            <a:extLst>
              <a:ext uri="{FF2B5EF4-FFF2-40B4-BE49-F238E27FC236}">
                <a16:creationId xmlns:a16="http://schemas.microsoft.com/office/drawing/2014/main" id="{E4A19AE4-7277-80F9-841D-C5FED0DB0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885573"/>
            <a:ext cx="2967177" cy="1978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C2410EB-DCB9-0D03-2776-58C34B619C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709" y="1491630"/>
            <a:ext cx="2954374" cy="2732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638290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 (Catalog)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159136"/>
              </p:ext>
            </p:extLst>
          </p:nvPr>
        </p:nvGraphicFramePr>
        <p:xfrm>
          <a:off x="348860" y="915567"/>
          <a:ext cx="8440338" cy="270306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487430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catalo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doesn’t have any product in the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ader cart shows no produc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adds several products to the product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ader cart counter and total price is upd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adds products on price higher than 1000Eur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ader cart applies 10% discou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ckend responds with err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ror modal is shown with correct mess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5658377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 (Product cart)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566950"/>
              </p:ext>
            </p:extLst>
          </p:nvPr>
        </p:nvGraphicFramePr>
        <p:xfrm>
          <a:off x="348860" y="915567"/>
          <a:ext cx="8440338" cy="403244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487430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product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user’s cart products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product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pric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23433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s cart’s total price is higher than 1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% discount is applied to total 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increases amount of product items in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price is upd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decreases amount of product items in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price is upd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67173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date total price is higher/lower than 1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% discount is enabled/disabl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461810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refreshes p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t changes are persi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87410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ckend responds with err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ror modal with correct messag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4506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4519992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Tijdelijke aanduiding voor afbeelding 23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/>
        </p:blipFill>
        <p:spPr>
          <a:xfrm>
            <a:off x="-16185" y="-22511"/>
            <a:ext cx="9180000" cy="5247372"/>
          </a:xfr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C1D0AFE-AFF0-090B-F4BD-59977FEFCCF9}"/>
              </a:ext>
            </a:extLst>
          </p:cNvPr>
          <p:cNvSpPr/>
          <p:nvPr/>
        </p:nvSpPr>
        <p:spPr>
          <a:xfrm>
            <a:off x="-1" y="-22512"/>
            <a:ext cx="9163815" cy="5247371"/>
          </a:xfrm>
          <a:prstGeom prst="rect">
            <a:avLst/>
          </a:prstGeom>
          <a:solidFill>
            <a:srgbClr val="000000">
              <a:alpha val="49804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339502"/>
            <a:ext cx="5158962" cy="775562"/>
          </a:xfrm>
        </p:spPr>
        <p:txBody>
          <a:bodyPr/>
          <a:lstStyle/>
          <a:p>
            <a:r>
              <a:rPr lang="en-US" sz="6000" dirty="0"/>
              <a:t>Story time</a:t>
            </a:r>
          </a:p>
        </p:txBody>
      </p:sp>
    </p:spTree>
    <p:extLst>
      <p:ext uri="{BB962C8B-B14F-4D97-AF65-F5344CB8AC3E}">
        <p14:creationId xmlns:p14="http://schemas.microsoft.com/office/powerpoint/2010/main" val="32701171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 (Checkout)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6319532"/>
              </p:ext>
            </p:extLst>
          </p:nvPr>
        </p:nvGraphicFramePr>
        <p:xfrm>
          <a:off x="348860" y="915567"/>
          <a:ext cx="8440338" cy="230215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487430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checkou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ckout form is display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doesn’t fill anything in checkout and submits the for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idation messages are displayed. Form is not submitt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fills everything correct and receives error response from the backe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ror messages are display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fills everything correctly and receives success response from the backe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 pag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671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7419984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 (Payment)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688260"/>
              </p:ext>
            </p:extLst>
          </p:nvPr>
        </p:nvGraphicFramePr>
        <p:xfrm>
          <a:off x="348860" y="915567"/>
          <a:ext cx="8440338" cy="317433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487430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payments p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rect price and product details are display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pays and he has enough mone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 is successfu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54836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pays and he doesn’t have enough mone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 error is shown, payment is not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tries again after failed attempt and he has enough mone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 is successful. Success pag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pays and he has enough mone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 is successful. Success pag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67173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pays and he receives unexpected error response from the backe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 error is shown, payment is not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4618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0265152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 dirty="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Close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B635F840-9A0F-2EFE-6310-DE4FC27A0DD8}"/>
              </a:ext>
            </a:extLst>
          </p:cNvPr>
          <p:cNvSpPr txBox="1"/>
          <p:nvPr/>
        </p:nvSpPr>
        <p:spPr>
          <a:xfrm>
            <a:off x="348860" y="412342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206553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 dirty="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79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 dirty="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50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6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84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 dirty="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2675CF9-F757-DDA3-EF7D-BAF158D93DF6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5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577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 descr="Close with solid fill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891BF8C-88AD-4E23-F9B3-A119EFB9DBD4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4189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016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51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3DE63B-C896-917D-3570-DD4E2D3759C9}"/>
              </a:ext>
            </a:extLst>
          </p:cNvPr>
          <p:cNvGrpSpPr/>
          <p:nvPr/>
        </p:nvGrpSpPr>
        <p:grpSpPr>
          <a:xfrm>
            <a:off x="5283543" y="2280157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9C9EF55-23B9-1A85-7455-1EAE8017BE3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D695A91-E323-7422-5534-4E2FC046186C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B16C178C-E17D-F0FE-3155-4F7D0F425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7663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43E23EDE-FA03-BA84-F93E-9E0AFF3E0F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1" r="16771"/>
          <a:stretch/>
        </p:blipFill>
        <p:spPr>
          <a:xfrm>
            <a:off x="1" y="0"/>
            <a:ext cx="4571999" cy="5143500"/>
          </a:xfrm>
          <a:prstGeom prst="rect">
            <a:avLst/>
          </a:prstGeom>
        </p:spPr>
      </p:pic>
      <p:sp>
        <p:nvSpPr>
          <p:cNvPr id="21" name="Tijdelijke aanduiding voor tekst 7">
            <a:extLst>
              <a:ext uri="{FF2B5EF4-FFF2-40B4-BE49-F238E27FC236}">
                <a16:creationId xmlns:a16="http://schemas.microsoft.com/office/drawing/2014/main" id="{312F7865-5745-2DF3-5891-7D76A2610C69}"/>
              </a:ext>
            </a:extLst>
          </p:cNvPr>
          <p:cNvSpPr txBox="1">
            <a:spLocks/>
          </p:cNvSpPr>
          <p:nvPr/>
        </p:nvSpPr>
        <p:spPr>
          <a:xfrm>
            <a:off x="4932040" y="2080766"/>
            <a:ext cx="2808312" cy="1440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None/>
              <a:tabLst>
                <a:tab pos="272648" algn="l"/>
              </a:tabLst>
              <a:defRPr lang="nl-NL" sz="1200" b="1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/>
              <a:t>IT Engineer at ABN AMRO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3A48E22-8B8A-6067-6E58-24685CD9E2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040" y="2440806"/>
            <a:ext cx="635000" cy="635000"/>
          </a:xfrm>
          <a:prstGeom prst="rect">
            <a:avLst/>
          </a:prstGeom>
        </p:spPr>
      </p:pic>
      <p:sp>
        <p:nvSpPr>
          <p:cNvPr id="23" name="Tijdelijke aanduiding voor tekst 7">
            <a:extLst>
              <a:ext uri="{FF2B5EF4-FFF2-40B4-BE49-F238E27FC236}">
                <a16:creationId xmlns:a16="http://schemas.microsoft.com/office/drawing/2014/main" id="{4F29A224-132C-343B-A857-7FA9FD1BD6DA}"/>
              </a:ext>
            </a:extLst>
          </p:cNvPr>
          <p:cNvSpPr txBox="1">
            <a:spLocks/>
          </p:cNvSpPr>
          <p:nvPr/>
        </p:nvSpPr>
        <p:spPr>
          <a:xfrm>
            <a:off x="5660091" y="2631744"/>
            <a:ext cx="2412480" cy="253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None/>
              <a:tabLst>
                <a:tab pos="272648" algn="l"/>
              </a:tabLst>
              <a:defRPr lang="nl-NL" sz="1200" b="1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solidFill>
                  <a:srgbClr val="CC0066"/>
                </a:solidFill>
              </a:rPr>
              <a:t>Working on iDeal 2.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BBEE08E-A22E-983C-207F-D307CE46F8F8}"/>
              </a:ext>
            </a:extLst>
          </p:cNvPr>
          <p:cNvSpPr txBox="1"/>
          <p:nvPr/>
        </p:nvSpPr>
        <p:spPr>
          <a:xfrm>
            <a:off x="4860032" y="1576710"/>
            <a:ext cx="16001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sz="2400" b="1" dirty="0">
                <a:solidFill>
                  <a:schemeClr val="bg2"/>
                </a:solidFill>
              </a:rPr>
              <a:t>Illia Lebid</a:t>
            </a:r>
          </a:p>
        </p:txBody>
      </p:sp>
    </p:spTree>
    <p:extLst>
      <p:ext uri="{BB962C8B-B14F-4D97-AF65-F5344CB8AC3E}">
        <p14:creationId xmlns:p14="http://schemas.microsoft.com/office/powerpoint/2010/main" val="73476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113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346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058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09282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Tick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863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Functional te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740F43B-428C-1511-9505-4C6EF9F08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6418" y="756688"/>
            <a:ext cx="4255812" cy="311120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E65FC35-74D5-8971-807A-B0F6A2276189}"/>
              </a:ext>
            </a:extLst>
          </p:cNvPr>
          <p:cNvGrpSpPr/>
          <p:nvPr/>
        </p:nvGrpSpPr>
        <p:grpSpPr>
          <a:xfrm>
            <a:off x="354023" y="1106241"/>
            <a:ext cx="3511597" cy="270000"/>
            <a:chOff x="5277600" y="1334174"/>
            <a:chExt cx="3511597" cy="270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E3B5019-B8A1-D6D5-2B4A-E3BA5867C226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C102D7B-9957-11DD-1451-F9A799C1ABE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Happy Flow (With discount)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" name="Graphic 6" descr="Close with solid fill">
              <a:extLst>
                <a:ext uri="{FF2B5EF4-FFF2-40B4-BE49-F238E27FC236}">
                  <a16:creationId xmlns:a16="http://schemas.microsoft.com/office/drawing/2014/main" id="{857CABD5-E1AE-9AA9-9B68-84D75BDD8C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D5E5C49-6E02-74EC-C35A-0F22A9AD2BE9}"/>
              </a:ext>
            </a:extLst>
          </p:cNvPr>
          <p:cNvGrpSpPr/>
          <p:nvPr/>
        </p:nvGrpSpPr>
        <p:grpSpPr>
          <a:xfrm>
            <a:off x="354023" y="1442778"/>
            <a:ext cx="3511597" cy="270000"/>
            <a:chOff x="5277600" y="1334174"/>
            <a:chExt cx="3511597" cy="270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A7441D5-090A-56BE-7CB6-74B281124D6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A0A70BD-4E9F-3DBF-B15C-122D7393EB00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Error flow (Catalog)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1" name="Graphic 10" descr="Close with solid fill">
              <a:extLst>
                <a:ext uri="{FF2B5EF4-FFF2-40B4-BE49-F238E27FC236}">
                  <a16:creationId xmlns:a16="http://schemas.microsoft.com/office/drawing/2014/main" id="{8533FEA6-8F79-39FB-8B3C-2B247665D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261955-1F1E-EC44-065F-ADB73FA4D20E}"/>
              </a:ext>
            </a:extLst>
          </p:cNvPr>
          <p:cNvGrpSpPr/>
          <p:nvPr/>
        </p:nvGrpSpPr>
        <p:grpSpPr>
          <a:xfrm>
            <a:off x="354023" y="769704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2DCDF75-4284-476E-90AD-875D322C010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CB943F2-7900-07B4-8D6C-2FB6227CD467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Happy Flow (Without discount. Including validation)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4E86FD2E-3BC2-2BFB-74BF-28DBBA64A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EE3C10A-2EC7-7A2B-E822-20A8376EB53A}"/>
              </a:ext>
            </a:extLst>
          </p:cNvPr>
          <p:cNvGrpSpPr/>
          <p:nvPr/>
        </p:nvGrpSpPr>
        <p:grpSpPr>
          <a:xfrm>
            <a:off x="348860" y="1779315"/>
            <a:ext cx="3511597" cy="270000"/>
            <a:chOff x="5277600" y="1334174"/>
            <a:chExt cx="3511597" cy="27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9683F3A-DFBF-56A6-FF7E-2D41448AFD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78A8ECE-EF54-BE1F-EFD0-DB0C1EFA3F5A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NL" sz="1000" dirty="0">
                  <a:solidFill>
                    <a:schemeClr val="bg1"/>
                  </a:solidFill>
                </a:rPr>
                <a:t>Error flow (Cart)</a:t>
              </a:r>
            </a:p>
          </p:txBody>
        </p:sp>
        <p:pic>
          <p:nvPicPr>
            <p:cNvPr id="19" name="Graphic 18" descr="Close with solid fill">
              <a:extLst>
                <a:ext uri="{FF2B5EF4-FFF2-40B4-BE49-F238E27FC236}">
                  <a16:creationId xmlns:a16="http://schemas.microsoft.com/office/drawing/2014/main" id="{5C00B0D7-7305-5EDC-E6DB-721AC0479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4B7D93E-BF5E-7C43-C86E-E1EC35D33B26}"/>
              </a:ext>
            </a:extLst>
          </p:cNvPr>
          <p:cNvGrpSpPr/>
          <p:nvPr/>
        </p:nvGrpSpPr>
        <p:grpSpPr>
          <a:xfrm>
            <a:off x="348860" y="2119289"/>
            <a:ext cx="3511597" cy="270000"/>
            <a:chOff x="5277600" y="1334174"/>
            <a:chExt cx="3511597" cy="270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56E9E60-4E08-FA4B-3EDF-AB5DDEFE6C1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F72B4C-442C-DE14-C05E-05411BCC517A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NL" sz="1000" dirty="0">
                  <a:solidFill>
                    <a:schemeClr val="bg1"/>
                  </a:solidFill>
                </a:rPr>
                <a:t>Error flow (Checkout)</a:t>
              </a:r>
            </a:p>
          </p:txBody>
        </p:sp>
        <p:pic>
          <p:nvPicPr>
            <p:cNvPr id="23" name="Graphic 22" descr="Close with solid fill">
              <a:extLst>
                <a:ext uri="{FF2B5EF4-FFF2-40B4-BE49-F238E27FC236}">
                  <a16:creationId xmlns:a16="http://schemas.microsoft.com/office/drawing/2014/main" id="{A8E4D426-D0AB-DE71-325E-858D106C1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16294F2-567D-BA58-7F5B-A282E86992B8}"/>
              </a:ext>
            </a:extLst>
          </p:cNvPr>
          <p:cNvGrpSpPr/>
          <p:nvPr/>
        </p:nvGrpSpPr>
        <p:grpSpPr>
          <a:xfrm>
            <a:off x="342746" y="2459263"/>
            <a:ext cx="3511597" cy="270000"/>
            <a:chOff x="5277600" y="1334174"/>
            <a:chExt cx="3511597" cy="270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7ABB3CD-4034-249E-3256-1E31777E973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66039AA-17E2-B4B3-436A-5BBAE0FF36B7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NL" sz="1000" dirty="0">
                  <a:solidFill>
                    <a:schemeClr val="bg1"/>
                  </a:solidFill>
                </a:rPr>
                <a:t>Error flow (Payment)</a:t>
              </a:r>
            </a:p>
          </p:txBody>
        </p:sp>
        <p:pic>
          <p:nvPicPr>
            <p:cNvPr id="27" name="Graphic 26" descr="Close with solid fill">
              <a:extLst>
                <a:ext uri="{FF2B5EF4-FFF2-40B4-BE49-F238E27FC236}">
                  <a16:creationId xmlns:a16="http://schemas.microsoft.com/office/drawing/2014/main" id="{1A417F2C-83C2-E6BC-ED26-0CA3BB76F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9232727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t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951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578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3063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8972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2450103" y="1996734"/>
            <a:ext cx="4223146" cy="238975"/>
          </a:xfrm>
        </p:spPr>
        <p:txBody>
          <a:bodyPr/>
          <a:lstStyle/>
          <a:p>
            <a:r>
              <a:rPr lang="en-US" dirty="0"/>
              <a:t>Full proof testing</a:t>
            </a:r>
          </a:p>
        </p:txBody>
      </p:sp>
      <p:sp>
        <p:nvSpPr>
          <p:cNvPr id="15" name="Tijdelijke aanduiding voor tekst 14"/>
          <p:cNvSpPr>
            <a:spLocks noGrp="1"/>
          </p:cNvSpPr>
          <p:nvPr>
            <p:ph type="body" sz="quarter" idx="19"/>
          </p:nvPr>
        </p:nvSpPr>
        <p:spPr>
          <a:xfrm>
            <a:off x="2450103" y="2320168"/>
            <a:ext cx="4223146" cy="238975"/>
          </a:xfrm>
        </p:spPr>
        <p:txBody>
          <a:bodyPr/>
          <a:lstStyle/>
          <a:p>
            <a:r>
              <a:rPr lang="en-US" dirty="0"/>
              <a:t>A guide to stable application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6"/>
          </p:nvPr>
        </p:nvSpPr>
        <p:spPr>
          <a:xfrm>
            <a:off x="4140474" y="1754841"/>
            <a:ext cx="842400" cy="13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20"/>
          </p:nvPr>
        </p:nvSpPr>
        <p:spPr>
          <a:xfrm>
            <a:off x="4140474" y="2729753"/>
            <a:ext cx="842400" cy="135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8" name="Tijdelijke aanduiding voor afbeelding 7"/>
          <p:cNvPicPr>
            <a:picLocks noGrp="1" noChangeAspect="1"/>
          </p:cNvPicPr>
          <p:nvPr>
            <p:ph type="pic" sz="quarter" idx="2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797" y="699542"/>
            <a:ext cx="1712411" cy="434713"/>
          </a:xfrm>
        </p:spPr>
      </p:pic>
      <p:sp>
        <p:nvSpPr>
          <p:cNvPr id="2" name="TextBox 1"/>
          <p:cNvSpPr txBox="1"/>
          <p:nvPr/>
        </p:nvSpPr>
        <p:spPr>
          <a:xfrm>
            <a:off x="-1423719" y="1"/>
            <a:ext cx="1368152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783"/>
            <a:r>
              <a:rPr lang="en-US" sz="800" b="1" dirty="0">
                <a:solidFill>
                  <a:srgbClr val="F3C000"/>
                </a:solidFill>
              </a:rPr>
              <a:t>TIP!</a:t>
            </a:r>
          </a:p>
          <a:p>
            <a:pPr defTabSz="685783"/>
            <a:r>
              <a:rPr lang="en-US" sz="800" b="1" dirty="0">
                <a:solidFill>
                  <a:srgbClr val="009286"/>
                </a:solidFill>
              </a:rPr>
              <a:t>Keep animation in place</a:t>
            </a:r>
            <a:br>
              <a:rPr lang="en-US" sz="800" b="1" dirty="0">
                <a:solidFill>
                  <a:srgbClr val="009286"/>
                </a:solidFill>
              </a:rPr>
            </a:br>
            <a:r>
              <a:rPr lang="en-US" sz="800" dirty="0">
                <a:solidFill>
                  <a:srgbClr val="009286"/>
                </a:solidFill>
              </a:rPr>
              <a:t>Replace Logo’s by right clicking image and choose “Change Picture…”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-1924567" y="-72635"/>
            <a:ext cx="537210" cy="593874"/>
            <a:chOff x="5713413" y="3175"/>
            <a:chExt cx="6200776" cy="6854826"/>
          </a:xfrm>
          <a:solidFill>
            <a:schemeClr val="bg1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auto">
            <a:xfrm>
              <a:off x="6729413" y="1055688"/>
              <a:ext cx="4168775" cy="5802313"/>
            </a:xfrm>
            <a:custGeom>
              <a:avLst/>
              <a:gdLst>
                <a:gd name="T0" fmla="*/ 829 w 1658"/>
                <a:gd name="T1" fmla="*/ 0 h 2307"/>
                <a:gd name="T2" fmla="*/ 0 w 1658"/>
                <a:gd name="T3" fmla="*/ 802 h 2307"/>
                <a:gd name="T4" fmla="*/ 202 w 1658"/>
                <a:gd name="T5" fmla="*/ 1386 h 2307"/>
                <a:gd name="T6" fmla="*/ 285 w 1658"/>
                <a:gd name="T7" fmla="*/ 1555 h 2307"/>
                <a:gd name="T8" fmla="*/ 439 w 1658"/>
                <a:gd name="T9" fmla="*/ 1831 h 2307"/>
                <a:gd name="T10" fmla="*/ 451 w 1658"/>
                <a:gd name="T11" fmla="*/ 2043 h 2307"/>
                <a:gd name="T12" fmla="*/ 451 w 1658"/>
                <a:gd name="T13" fmla="*/ 2043 h 2307"/>
                <a:gd name="T14" fmla="*/ 622 w 1658"/>
                <a:gd name="T15" fmla="*/ 2223 h 2307"/>
                <a:gd name="T16" fmla="*/ 690 w 1658"/>
                <a:gd name="T17" fmla="*/ 2290 h 2307"/>
                <a:gd name="T18" fmla="*/ 749 w 1658"/>
                <a:gd name="T19" fmla="*/ 2307 h 2307"/>
                <a:gd name="T20" fmla="*/ 909 w 1658"/>
                <a:gd name="T21" fmla="*/ 2307 h 2307"/>
                <a:gd name="T22" fmla="*/ 968 w 1658"/>
                <a:gd name="T23" fmla="*/ 2290 h 2307"/>
                <a:gd name="T24" fmla="*/ 1036 w 1658"/>
                <a:gd name="T25" fmla="*/ 2223 h 2307"/>
                <a:gd name="T26" fmla="*/ 1207 w 1658"/>
                <a:gd name="T27" fmla="*/ 2043 h 2307"/>
                <a:gd name="T28" fmla="*/ 1219 w 1658"/>
                <a:gd name="T29" fmla="*/ 1831 h 2307"/>
                <a:gd name="T30" fmla="*/ 1373 w 1658"/>
                <a:gd name="T31" fmla="*/ 1555 h 2307"/>
                <a:gd name="T32" fmla="*/ 1457 w 1658"/>
                <a:gd name="T33" fmla="*/ 1385 h 2307"/>
                <a:gd name="T34" fmla="*/ 1658 w 1658"/>
                <a:gd name="T35" fmla="*/ 802 h 2307"/>
                <a:gd name="T36" fmla="*/ 829 w 1658"/>
                <a:gd name="T37" fmla="*/ 0 h 2307"/>
                <a:gd name="T38" fmla="*/ 1283 w 1658"/>
                <a:gd name="T39" fmla="*/ 1268 h 2307"/>
                <a:gd name="T40" fmla="*/ 1164 w 1658"/>
                <a:gd name="T41" fmla="*/ 1555 h 2307"/>
                <a:gd name="T42" fmla="*/ 1085 w 1658"/>
                <a:gd name="T43" fmla="*/ 1668 h 2307"/>
                <a:gd name="T44" fmla="*/ 573 w 1658"/>
                <a:gd name="T45" fmla="*/ 1668 h 2307"/>
                <a:gd name="T46" fmla="*/ 494 w 1658"/>
                <a:gd name="T47" fmla="*/ 1555 h 2307"/>
                <a:gd name="T48" fmla="*/ 374 w 1658"/>
                <a:gd name="T49" fmla="*/ 1266 h 2307"/>
                <a:gd name="T50" fmla="*/ 209 w 1658"/>
                <a:gd name="T51" fmla="*/ 802 h 2307"/>
                <a:gd name="T52" fmla="*/ 829 w 1658"/>
                <a:gd name="T53" fmla="*/ 210 h 2307"/>
                <a:gd name="T54" fmla="*/ 1449 w 1658"/>
                <a:gd name="T55" fmla="*/ 802 h 2307"/>
                <a:gd name="T56" fmla="*/ 1283 w 1658"/>
                <a:gd name="T57" fmla="*/ 1268 h 2307"/>
                <a:gd name="T58" fmla="*/ 1283 w 1658"/>
                <a:gd name="T59" fmla="*/ 1268 h 2307"/>
                <a:gd name="T60" fmla="*/ 1283 w 1658"/>
                <a:gd name="T61" fmla="*/ 1268 h 2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58" h="2307">
                  <a:moveTo>
                    <a:pt x="829" y="0"/>
                  </a:moveTo>
                  <a:cubicBezTo>
                    <a:pt x="372" y="0"/>
                    <a:pt x="0" y="360"/>
                    <a:pt x="0" y="802"/>
                  </a:cubicBezTo>
                  <a:cubicBezTo>
                    <a:pt x="0" y="1089"/>
                    <a:pt x="116" y="1260"/>
                    <a:pt x="202" y="1386"/>
                  </a:cubicBezTo>
                  <a:cubicBezTo>
                    <a:pt x="255" y="1463"/>
                    <a:pt x="285" y="1509"/>
                    <a:pt x="285" y="1555"/>
                  </a:cubicBezTo>
                  <a:cubicBezTo>
                    <a:pt x="285" y="1659"/>
                    <a:pt x="340" y="1757"/>
                    <a:pt x="439" y="1831"/>
                  </a:cubicBezTo>
                  <a:cubicBezTo>
                    <a:pt x="442" y="1893"/>
                    <a:pt x="451" y="2043"/>
                    <a:pt x="451" y="2043"/>
                  </a:cubicBezTo>
                  <a:cubicBezTo>
                    <a:pt x="451" y="2043"/>
                    <a:pt x="451" y="2043"/>
                    <a:pt x="451" y="2043"/>
                  </a:cubicBezTo>
                  <a:cubicBezTo>
                    <a:pt x="452" y="2086"/>
                    <a:pt x="475" y="2174"/>
                    <a:pt x="622" y="2223"/>
                  </a:cubicBezTo>
                  <a:cubicBezTo>
                    <a:pt x="640" y="2248"/>
                    <a:pt x="662" y="2271"/>
                    <a:pt x="690" y="2290"/>
                  </a:cubicBezTo>
                  <a:cubicBezTo>
                    <a:pt x="707" y="2301"/>
                    <a:pt x="728" y="2307"/>
                    <a:pt x="749" y="2307"/>
                  </a:cubicBezTo>
                  <a:cubicBezTo>
                    <a:pt x="909" y="2307"/>
                    <a:pt x="909" y="2307"/>
                    <a:pt x="909" y="2307"/>
                  </a:cubicBezTo>
                  <a:cubicBezTo>
                    <a:pt x="930" y="2307"/>
                    <a:pt x="950" y="2301"/>
                    <a:pt x="968" y="2290"/>
                  </a:cubicBezTo>
                  <a:cubicBezTo>
                    <a:pt x="995" y="2271"/>
                    <a:pt x="1018" y="2248"/>
                    <a:pt x="1036" y="2223"/>
                  </a:cubicBezTo>
                  <a:cubicBezTo>
                    <a:pt x="1184" y="2173"/>
                    <a:pt x="1206" y="2085"/>
                    <a:pt x="1207" y="2043"/>
                  </a:cubicBezTo>
                  <a:cubicBezTo>
                    <a:pt x="1207" y="2043"/>
                    <a:pt x="1216" y="1893"/>
                    <a:pt x="1219" y="1831"/>
                  </a:cubicBezTo>
                  <a:cubicBezTo>
                    <a:pt x="1318" y="1758"/>
                    <a:pt x="1373" y="1659"/>
                    <a:pt x="1373" y="1555"/>
                  </a:cubicBezTo>
                  <a:cubicBezTo>
                    <a:pt x="1373" y="1509"/>
                    <a:pt x="1403" y="1463"/>
                    <a:pt x="1457" y="1385"/>
                  </a:cubicBezTo>
                  <a:cubicBezTo>
                    <a:pt x="1542" y="1260"/>
                    <a:pt x="1658" y="1089"/>
                    <a:pt x="1658" y="802"/>
                  </a:cubicBezTo>
                  <a:cubicBezTo>
                    <a:pt x="1658" y="360"/>
                    <a:pt x="1286" y="0"/>
                    <a:pt x="829" y="0"/>
                  </a:cubicBezTo>
                  <a:close/>
                  <a:moveTo>
                    <a:pt x="1283" y="1268"/>
                  </a:moveTo>
                  <a:cubicBezTo>
                    <a:pt x="1221" y="1357"/>
                    <a:pt x="1164" y="1442"/>
                    <a:pt x="1164" y="1555"/>
                  </a:cubicBezTo>
                  <a:cubicBezTo>
                    <a:pt x="1164" y="1605"/>
                    <a:pt x="1119" y="1645"/>
                    <a:pt x="1085" y="1668"/>
                  </a:cubicBezTo>
                  <a:cubicBezTo>
                    <a:pt x="573" y="1668"/>
                    <a:pt x="573" y="1668"/>
                    <a:pt x="573" y="1668"/>
                  </a:cubicBezTo>
                  <a:cubicBezTo>
                    <a:pt x="539" y="1645"/>
                    <a:pt x="494" y="1605"/>
                    <a:pt x="494" y="1555"/>
                  </a:cubicBezTo>
                  <a:cubicBezTo>
                    <a:pt x="494" y="1442"/>
                    <a:pt x="436" y="1357"/>
                    <a:pt x="374" y="1266"/>
                  </a:cubicBezTo>
                  <a:cubicBezTo>
                    <a:pt x="297" y="1153"/>
                    <a:pt x="209" y="1024"/>
                    <a:pt x="209" y="802"/>
                  </a:cubicBezTo>
                  <a:cubicBezTo>
                    <a:pt x="209" y="476"/>
                    <a:pt x="487" y="210"/>
                    <a:pt x="829" y="210"/>
                  </a:cubicBezTo>
                  <a:cubicBezTo>
                    <a:pt x="1171" y="210"/>
                    <a:pt x="1449" y="476"/>
                    <a:pt x="1449" y="802"/>
                  </a:cubicBezTo>
                  <a:cubicBezTo>
                    <a:pt x="1449" y="1025"/>
                    <a:pt x="1361" y="1153"/>
                    <a:pt x="1283" y="1268"/>
                  </a:cubicBezTo>
                  <a:close/>
                  <a:moveTo>
                    <a:pt x="1283" y="1268"/>
                  </a:moveTo>
                  <a:cubicBezTo>
                    <a:pt x="1283" y="1268"/>
                    <a:pt x="1283" y="1268"/>
                    <a:pt x="1283" y="12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8680451" y="3175"/>
              <a:ext cx="263525" cy="658813"/>
            </a:xfrm>
            <a:custGeom>
              <a:avLst/>
              <a:gdLst>
                <a:gd name="T0" fmla="*/ 53 w 105"/>
                <a:gd name="T1" fmla="*/ 262 h 262"/>
                <a:gd name="T2" fmla="*/ 105 w 105"/>
                <a:gd name="T3" fmla="*/ 210 h 262"/>
                <a:gd name="T4" fmla="*/ 105 w 105"/>
                <a:gd name="T5" fmla="*/ 52 h 262"/>
                <a:gd name="T6" fmla="*/ 53 w 105"/>
                <a:gd name="T7" fmla="*/ 0 h 262"/>
                <a:gd name="T8" fmla="*/ 0 w 105"/>
                <a:gd name="T9" fmla="*/ 52 h 262"/>
                <a:gd name="T10" fmla="*/ 0 w 105"/>
                <a:gd name="T11" fmla="*/ 210 h 262"/>
                <a:gd name="T12" fmla="*/ 53 w 105"/>
                <a:gd name="T13" fmla="*/ 262 h 262"/>
                <a:gd name="T14" fmla="*/ 53 w 105"/>
                <a:gd name="T15" fmla="*/ 262 h 262"/>
                <a:gd name="T16" fmla="*/ 53 w 105"/>
                <a:gd name="T17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62">
                  <a:moveTo>
                    <a:pt x="53" y="262"/>
                  </a:moveTo>
                  <a:cubicBezTo>
                    <a:pt x="82" y="262"/>
                    <a:pt x="105" y="239"/>
                    <a:pt x="105" y="210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5" y="24"/>
                    <a:pt x="82" y="0"/>
                    <a:pt x="53" y="0"/>
                  </a:cubicBezTo>
                  <a:cubicBezTo>
                    <a:pt x="24" y="0"/>
                    <a:pt x="0" y="24"/>
                    <a:pt x="0" y="52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39"/>
                    <a:pt x="24" y="262"/>
                    <a:pt x="53" y="262"/>
                  </a:cubicBezTo>
                  <a:close/>
                  <a:moveTo>
                    <a:pt x="53" y="262"/>
                  </a:moveTo>
                  <a:cubicBezTo>
                    <a:pt x="53" y="262"/>
                    <a:pt x="53" y="262"/>
                    <a:pt x="53" y="2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7178676" y="382588"/>
              <a:ext cx="498475" cy="623888"/>
            </a:xfrm>
            <a:custGeom>
              <a:avLst/>
              <a:gdLst>
                <a:gd name="T0" fmla="*/ 93 w 198"/>
                <a:gd name="T1" fmla="*/ 222 h 248"/>
                <a:gd name="T2" fmla="*/ 138 w 198"/>
                <a:gd name="T3" fmla="*/ 248 h 248"/>
                <a:gd name="T4" fmla="*/ 164 w 198"/>
                <a:gd name="T5" fmla="*/ 241 h 248"/>
                <a:gd name="T6" fmla="*/ 184 w 198"/>
                <a:gd name="T7" fmla="*/ 170 h 248"/>
                <a:gd name="T8" fmla="*/ 105 w 198"/>
                <a:gd name="T9" fmla="*/ 33 h 248"/>
                <a:gd name="T10" fmla="*/ 33 w 198"/>
                <a:gd name="T11" fmla="*/ 14 h 248"/>
                <a:gd name="T12" fmla="*/ 14 w 198"/>
                <a:gd name="T13" fmla="*/ 86 h 248"/>
                <a:gd name="T14" fmla="*/ 93 w 198"/>
                <a:gd name="T15" fmla="*/ 222 h 248"/>
                <a:gd name="T16" fmla="*/ 93 w 198"/>
                <a:gd name="T17" fmla="*/ 222 h 248"/>
                <a:gd name="T18" fmla="*/ 93 w 198"/>
                <a:gd name="T19" fmla="*/ 22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93" y="222"/>
                  </a:moveTo>
                  <a:cubicBezTo>
                    <a:pt x="103" y="239"/>
                    <a:pt x="120" y="248"/>
                    <a:pt x="138" y="248"/>
                  </a:cubicBezTo>
                  <a:cubicBezTo>
                    <a:pt x="147" y="248"/>
                    <a:pt x="156" y="246"/>
                    <a:pt x="164" y="241"/>
                  </a:cubicBezTo>
                  <a:cubicBezTo>
                    <a:pt x="190" y="227"/>
                    <a:pt x="198" y="195"/>
                    <a:pt x="184" y="170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91" y="8"/>
                    <a:pt x="59" y="0"/>
                    <a:pt x="33" y="14"/>
                  </a:cubicBezTo>
                  <a:cubicBezTo>
                    <a:pt x="8" y="29"/>
                    <a:pt x="0" y="61"/>
                    <a:pt x="14" y="86"/>
                  </a:cubicBezTo>
                  <a:lnTo>
                    <a:pt x="93" y="222"/>
                  </a:lnTo>
                  <a:close/>
                  <a:moveTo>
                    <a:pt x="93" y="222"/>
                  </a:moveTo>
                  <a:cubicBezTo>
                    <a:pt x="93" y="222"/>
                    <a:pt x="93" y="222"/>
                    <a:pt x="93" y="2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/>
          </p:nvSpPr>
          <p:spPr bwMode="auto">
            <a:xfrm>
              <a:off x="6092826" y="1468438"/>
              <a:ext cx="644525" cy="481013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4 w 256"/>
                <a:gd name="T5" fmla="*/ 34 h 191"/>
                <a:gd name="T6" fmla="*/ 33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1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4" y="34"/>
                  </a:cubicBezTo>
                  <a:cubicBezTo>
                    <a:pt x="0" y="59"/>
                    <a:pt x="8" y="91"/>
                    <a:pt x="33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9"/>
                    <a:pt x="187" y="191"/>
                    <a:pt x="196" y="191"/>
                  </a:cubicBezTo>
                  <a:cubicBezTo>
                    <a:pt x="214" y="191"/>
                    <a:pt x="231" y="181"/>
                    <a:pt x="241" y="164"/>
                  </a:cubicBezTo>
                  <a:cubicBezTo>
                    <a:pt x="256" y="140"/>
                    <a:pt x="247" y="108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5713413" y="2970213"/>
              <a:ext cx="658813" cy="263525"/>
            </a:xfrm>
            <a:custGeom>
              <a:avLst/>
              <a:gdLst>
                <a:gd name="T0" fmla="*/ 262 w 262"/>
                <a:gd name="T1" fmla="*/ 53 h 105"/>
                <a:gd name="T2" fmla="*/ 210 w 262"/>
                <a:gd name="T3" fmla="*/ 0 h 105"/>
                <a:gd name="T4" fmla="*/ 52 w 262"/>
                <a:gd name="T5" fmla="*/ 0 h 105"/>
                <a:gd name="T6" fmla="*/ 0 w 262"/>
                <a:gd name="T7" fmla="*/ 53 h 105"/>
                <a:gd name="T8" fmla="*/ 52 w 262"/>
                <a:gd name="T9" fmla="*/ 105 h 105"/>
                <a:gd name="T10" fmla="*/ 210 w 262"/>
                <a:gd name="T11" fmla="*/ 105 h 105"/>
                <a:gd name="T12" fmla="*/ 262 w 262"/>
                <a:gd name="T13" fmla="*/ 53 h 105"/>
                <a:gd name="T14" fmla="*/ 262 w 262"/>
                <a:gd name="T15" fmla="*/ 53 h 105"/>
                <a:gd name="T16" fmla="*/ 262 w 262"/>
                <a:gd name="T17" fmla="*/ 5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62" y="53"/>
                  </a:moveTo>
                  <a:cubicBezTo>
                    <a:pt x="262" y="24"/>
                    <a:pt x="239" y="0"/>
                    <a:pt x="210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39" y="105"/>
                    <a:pt x="262" y="82"/>
                    <a:pt x="262" y="53"/>
                  </a:cubicBezTo>
                  <a:close/>
                  <a:moveTo>
                    <a:pt x="262" y="53"/>
                  </a:moveTo>
                  <a:cubicBezTo>
                    <a:pt x="262" y="53"/>
                    <a:pt x="262" y="53"/>
                    <a:pt x="262" y="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6092826" y="4240213"/>
              <a:ext cx="644525" cy="479425"/>
            </a:xfrm>
            <a:custGeom>
              <a:avLst/>
              <a:gdLst>
                <a:gd name="T0" fmla="*/ 170 w 256"/>
                <a:gd name="T1" fmla="*/ 14 h 191"/>
                <a:gd name="T2" fmla="*/ 33 w 256"/>
                <a:gd name="T3" fmla="*/ 93 h 191"/>
                <a:gd name="T4" fmla="*/ 14 w 256"/>
                <a:gd name="T5" fmla="*/ 164 h 191"/>
                <a:gd name="T6" fmla="*/ 59 w 256"/>
                <a:gd name="T7" fmla="*/ 191 h 191"/>
                <a:gd name="T8" fmla="*/ 86 w 256"/>
                <a:gd name="T9" fmla="*/ 184 h 191"/>
                <a:gd name="T10" fmla="*/ 222 w 256"/>
                <a:gd name="T11" fmla="*/ 105 h 191"/>
                <a:gd name="T12" fmla="*/ 241 w 256"/>
                <a:gd name="T13" fmla="*/ 33 h 191"/>
                <a:gd name="T14" fmla="*/ 170 w 256"/>
                <a:gd name="T15" fmla="*/ 14 h 191"/>
                <a:gd name="T16" fmla="*/ 170 w 256"/>
                <a:gd name="T17" fmla="*/ 14 h 191"/>
                <a:gd name="T18" fmla="*/ 170 w 256"/>
                <a:gd name="T19" fmla="*/ 1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170" y="14"/>
                  </a:moveTo>
                  <a:cubicBezTo>
                    <a:pt x="33" y="93"/>
                    <a:pt x="33" y="93"/>
                    <a:pt x="33" y="93"/>
                  </a:cubicBezTo>
                  <a:cubicBezTo>
                    <a:pt x="8" y="107"/>
                    <a:pt x="0" y="139"/>
                    <a:pt x="14" y="164"/>
                  </a:cubicBezTo>
                  <a:cubicBezTo>
                    <a:pt x="24" y="181"/>
                    <a:pt x="42" y="191"/>
                    <a:pt x="59" y="191"/>
                  </a:cubicBezTo>
                  <a:cubicBezTo>
                    <a:pt x="68" y="191"/>
                    <a:pt x="78" y="188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7" y="90"/>
                    <a:pt x="256" y="58"/>
                    <a:pt x="241" y="33"/>
                  </a:cubicBezTo>
                  <a:cubicBezTo>
                    <a:pt x="227" y="8"/>
                    <a:pt x="195" y="0"/>
                    <a:pt x="170" y="14"/>
                  </a:cubicBezTo>
                  <a:close/>
                  <a:moveTo>
                    <a:pt x="170" y="14"/>
                  </a:moveTo>
                  <a:cubicBezTo>
                    <a:pt x="170" y="14"/>
                    <a:pt x="170" y="14"/>
                    <a:pt x="170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auto">
            <a:xfrm>
              <a:off x="10890251" y="4240213"/>
              <a:ext cx="644525" cy="479425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5 w 256"/>
                <a:gd name="T5" fmla="*/ 33 h 191"/>
                <a:gd name="T6" fmla="*/ 34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2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5" y="33"/>
                  </a:cubicBezTo>
                  <a:cubicBezTo>
                    <a:pt x="0" y="58"/>
                    <a:pt x="9" y="90"/>
                    <a:pt x="34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8"/>
                    <a:pt x="187" y="191"/>
                    <a:pt x="196" y="191"/>
                  </a:cubicBezTo>
                  <a:cubicBezTo>
                    <a:pt x="214" y="191"/>
                    <a:pt x="232" y="181"/>
                    <a:pt x="242" y="164"/>
                  </a:cubicBezTo>
                  <a:cubicBezTo>
                    <a:pt x="256" y="139"/>
                    <a:pt x="248" y="107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11255376" y="2970213"/>
              <a:ext cx="658813" cy="263525"/>
            </a:xfrm>
            <a:custGeom>
              <a:avLst/>
              <a:gdLst>
                <a:gd name="T0" fmla="*/ 209 w 262"/>
                <a:gd name="T1" fmla="*/ 0 h 105"/>
                <a:gd name="T2" fmla="*/ 52 w 262"/>
                <a:gd name="T3" fmla="*/ 0 h 105"/>
                <a:gd name="T4" fmla="*/ 0 w 262"/>
                <a:gd name="T5" fmla="*/ 53 h 105"/>
                <a:gd name="T6" fmla="*/ 52 w 262"/>
                <a:gd name="T7" fmla="*/ 105 h 105"/>
                <a:gd name="T8" fmla="*/ 209 w 262"/>
                <a:gd name="T9" fmla="*/ 105 h 105"/>
                <a:gd name="T10" fmla="*/ 262 w 262"/>
                <a:gd name="T11" fmla="*/ 53 h 105"/>
                <a:gd name="T12" fmla="*/ 209 w 262"/>
                <a:gd name="T13" fmla="*/ 0 h 105"/>
                <a:gd name="T14" fmla="*/ 209 w 262"/>
                <a:gd name="T15" fmla="*/ 0 h 105"/>
                <a:gd name="T16" fmla="*/ 209 w 262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09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38" y="105"/>
                    <a:pt x="262" y="82"/>
                    <a:pt x="262" y="53"/>
                  </a:cubicBezTo>
                  <a:cubicBezTo>
                    <a:pt x="262" y="24"/>
                    <a:pt x="238" y="0"/>
                    <a:pt x="209" y="0"/>
                  </a:cubicBezTo>
                  <a:close/>
                  <a:moveTo>
                    <a:pt x="209" y="0"/>
                  </a:moveTo>
                  <a:cubicBezTo>
                    <a:pt x="209" y="0"/>
                    <a:pt x="209" y="0"/>
                    <a:pt x="20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0890251" y="1468438"/>
              <a:ext cx="644525" cy="481013"/>
            </a:xfrm>
            <a:custGeom>
              <a:avLst/>
              <a:gdLst>
                <a:gd name="T0" fmla="*/ 60 w 256"/>
                <a:gd name="T1" fmla="*/ 191 h 191"/>
                <a:gd name="T2" fmla="*/ 86 w 256"/>
                <a:gd name="T3" fmla="*/ 184 h 191"/>
                <a:gd name="T4" fmla="*/ 222 w 256"/>
                <a:gd name="T5" fmla="*/ 105 h 191"/>
                <a:gd name="T6" fmla="*/ 242 w 256"/>
                <a:gd name="T7" fmla="*/ 34 h 191"/>
                <a:gd name="T8" fmla="*/ 170 w 256"/>
                <a:gd name="T9" fmla="*/ 14 h 191"/>
                <a:gd name="T10" fmla="*/ 34 w 256"/>
                <a:gd name="T11" fmla="*/ 93 h 191"/>
                <a:gd name="T12" fmla="*/ 15 w 256"/>
                <a:gd name="T13" fmla="*/ 164 h 191"/>
                <a:gd name="T14" fmla="*/ 60 w 256"/>
                <a:gd name="T15" fmla="*/ 191 h 191"/>
                <a:gd name="T16" fmla="*/ 60 w 256"/>
                <a:gd name="T17" fmla="*/ 191 h 191"/>
                <a:gd name="T18" fmla="*/ 60 w 256"/>
                <a:gd name="T19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60" y="191"/>
                  </a:moveTo>
                  <a:cubicBezTo>
                    <a:pt x="69" y="191"/>
                    <a:pt x="78" y="189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8" y="91"/>
                    <a:pt x="256" y="59"/>
                    <a:pt x="242" y="34"/>
                  </a:cubicBezTo>
                  <a:cubicBezTo>
                    <a:pt x="227" y="8"/>
                    <a:pt x="195" y="0"/>
                    <a:pt x="170" y="14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9" y="108"/>
                    <a:pt x="0" y="140"/>
                    <a:pt x="15" y="164"/>
                  </a:cubicBezTo>
                  <a:cubicBezTo>
                    <a:pt x="24" y="181"/>
                    <a:pt x="42" y="191"/>
                    <a:pt x="60" y="191"/>
                  </a:cubicBezTo>
                  <a:close/>
                  <a:moveTo>
                    <a:pt x="60" y="191"/>
                  </a:moveTo>
                  <a:cubicBezTo>
                    <a:pt x="60" y="191"/>
                    <a:pt x="60" y="191"/>
                    <a:pt x="60" y="1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auto">
            <a:xfrm>
              <a:off x="9950451" y="382588"/>
              <a:ext cx="498475" cy="623888"/>
            </a:xfrm>
            <a:custGeom>
              <a:avLst/>
              <a:gdLst>
                <a:gd name="T0" fmla="*/ 33 w 198"/>
                <a:gd name="T1" fmla="*/ 241 h 248"/>
                <a:gd name="T2" fmla="*/ 59 w 198"/>
                <a:gd name="T3" fmla="*/ 248 h 248"/>
                <a:gd name="T4" fmla="*/ 105 w 198"/>
                <a:gd name="T5" fmla="*/ 222 h 248"/>
                <a:gd name="T6" fmla="*/ 183 w 198"/>
                <a:gd name="T7" fmla="*/ 86 h 248"/>
                <a:gd name="T8" fmla="*/ 164 w 198"/>
                <a:gd name="T9" fmla="*/ 14 h 248"/>
                <a:gd name="T10" fmla="*/ 93 w 198"/>
                <a:gd name="T11" fmla="*/ 33 h 248"/>
                <a:gd name="T12" fmla="*/ 14 w 198"/>
                <a:gd name="T13" fmla="*/ 170 h 248"/>
                <a:gd name="T14" fmla="*/ 33 w 198"/>
                <a:gd name="T15" fmla="*/ 241 h 248"/>
                <a:gd name="T16" fmla="*/ 33 w 198"/>
                <a:gd name="T17" fmla="*/ 241 h 248"/>
                <a:gd name="T18" fmla="*/ 33 w 198"/>
                <a:gd name="T19" fmla="*/ 24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33" y="241"/>
                  </a:moveTo>
                  <a:cubicBezTo>
                    <a:pt x="42" y="246"/>
                    <a:pt x="51" y="248"/>
                    <a:pt x="59" y="248"/>
                  </a:cubicBezTo>
                  <a:cubicBezTo>
                    <a:pt x="78" y="248"/>
                    <a:pt x="95" y="239"/>
                    <a:pt x="105" y="222"/>
                  </a:cubicBezTo>
                  <a:cubicBezTo>
                    <a:pt x="183" y="86"/>
                    <a:pt x="183" y="86"/>
                    <a:pt x="183" y="86"/>
                  </a:cubicBezTo>
                  <a:cubicBezTo>
                    <a:pt x="198" y="61"/>
                    <a:pt x="189" y="29"/>
                    <a:pt x="164" y="14"/>
                  </a:cubicBezTo>
                  <a:cubicBezTo>
                    <a:pt x="139" y="0"/>
                    <a:pt x="107" y="8"/>
                    <a:pt x="93" y="33"/>
                  </a:cubicBezTo>
                  <a:cubicBezTo>
                    <a:pt x="14" y="170"/>
                    <a:pt x="14" y="170"/>
                    <a:pt x="14" y="170"/>
                  </a:cubicBezTo>
                  <a:cubicBezTo>
                    <a:pt x="0" y="195"/>
                    <a:pt x="8" y="227"/>
                    <a:pt x="33" y="241"/>
                  </a:cubicBezTo>
                  <a:close/>
                  <a:moveTo>
                    <a:pt x="33" y="241"/>
                  </a:moveTo>
                  <a:cubicBezTo>
                    <a:pt x="33" y="241"/>
                    <a:pt x="33" y="241"/>
                    <a:pt x="33" y="2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3" name="Freeform 15"/>
            <p:cNvSpPr>
              <a:spLocks noEditPoints="1"/>
            </p:cNvSpPr>
            <p:nvPr/>
          </p:nvSpPr>
          <p:spPr bwMode="auto">
            <a:xfrm>
              <a:off x="8496301" y="1993900"/>
              <a:ext cx="635000" cy="2054225"/>
            </a:xfrm>
            <a:custGeom>
              <a:avLst/>
              <a:gdLst>
                <a:gd name="T0" fmla="*/ 56 w 252"/>
                <a:gd name="T1" fmla="*/ 758 h 817"/>
                <a:gd name="T2" fmla="*/ 126 w 252"/>
                <a:gd name="T3" fmla="*/ 817 h 817"/>
                <a:gd name="T4" fmla="*/ 196 w 252"/>
                <a:gd name="T5" fmla="*/ 758 h 817"/>
                <a:gd name="T6" fmla="*/ 246 w 252"/>
                <a:gd name="T7" fmla="*/ 384 h 817"/>
                <a:gd name="T8" fmla="*/ 252 w 252"/>
                <a:gd name="T9" fmla="*/ 309 h 817"/>
                <a:gd name="T10" fmla="*/ 252 w 252"/>
                <a:gd name="T11" fmla="*/ 123 h 817"/>
                <a:gd name="T12" fmla="*/ 126 w 252"/>
                <a:gd name="T13" fmla="*/ 0 h 817"/>
                <a:gd name="T14" fmla="*/ 0 w 252"/>
                <a:gd name="T15" fmla="*/ 123 h 817"/>
                <a:gd name="T16" fmla="*/ 0 w 252"/>
                <a:gd name="T17" fmla="*/ 309 h 817"/>
                <a:gd name="T18" fmla="*/ 6 w 252"/>
                <a:gd name="T19" fmla="*/ 384 h 817"/>
                <a:gd name="T20" fmla="*/ 56 w 252"/>
                <a:gd name="T21" fmla="*/ 758 h 817"/>
                <a:gd name="T22" fmla="*/ 56 w 252"/>
                <a:gd name="T23" fmla="*/ 758 h 817"/>
                <a:gd name="T24" fmla="*/ 56 w 252"/>
                <a:gd name="T25" fmla="*/ 758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2" h="817">
                  <a:moveTo>
                    <a:pt x="56" y="758"/>
                  </a:moveTo>
                  <a:cubicBezTo>
                    <a:pt x="62" y="804"/>
                    <a:pt x="84" y="817"/>
                    <a:pt x="126" y="817"/>
                  </a:cubicBezTo>
                  <a:cubicBezTo>
                    <a:pt x="167" y="817"/>
                    <a:pt x="190" y="804"/>
                    <a:pt x="196" y="758"/>
                  </a:cubicBezTo>
                  <a:cubicBezTo>
                    <a:pt x="246" y="384"/>
                    <a:pt x="246" y="384"/>
                    <a:pt x="246" y="384"/>
                  </a:cubicBezTo>
                  <a:cubicBezTo>
                    <a:pt x="249" y="358"/>
                    <a:pt x="252" y="332"/>
                    <a:pt x="252" y="309"/>
                  </a:cubicBezTo>
                  <a:cubicBezTo>
                    <a:pt x="252" y="123"/>
                    <a:pt x="252" y="123"/>
                    <a:pt x="252" y="123"/>
                  </a:cubicBezTo>
                  <a:cubicBezTo>
                    <a:pt x="252" y="42"/>
                    <a:pt x="206" y="0"/>
                    <a:pt x="126" y="0"/>
                  </a:cubicBezTo>
                  <a:cubicBezTo>
                    <a:pt x="46" y="0"/>
                    <a:pt x="0" y="42"/>
                    <a:pt x="0" y="123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32"/>
                    <a:pt x="3" y="358"/>
                    <a:pt x="6" y="384"/>
                  </a:cubicBezTo>
                  <a:lnTo>
                    <a:pt x="56" y="758"/>
                  </a:lnTo>
                  <a:close/>
                  <a:moveTo>
                    <a:pt x="56" y="758"/>
                  </a:moveTo>
                  <a:cubicBezTo>
                    <a:pt x="56" y="758"/>
                    <a:pt x="56" y="758"/>
                    <a:pt x="56" y="7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4" name="Freeform 16"/>
            <p:cNvSpPr>
              <a:spLocks noEditPoints="1"/>
            </p:cNvSpPr>
            <p:nvPr/>
          </p:nvSpPr>
          <p:spPr bwMode="auto">
            <a:xfrm>
              <a:off x="8485188" y="4310063"/>
              <a:ext cx="657225" cy="658813"/>
            </a:xfrm>
            <a:custGeom>
              <a:avLst/>
              <a:gdLst>
                <a:gd name="T0" fmla="*/ 131 w 262"/>
                <a:gd name="T1" fmla="*/ 0 h 262"/>
                <a:gd name="T2" fmla="*/ 0 w 262"/>
                <a:gd name="T3" fmla="*/ 131 h 262"/>
                <a:gd name="T4" fmla="*/ 131 w 262"/>
                <a:gd name="T5" fmla="*/ 262 h 262"/>
                <a:gd name="T6" fmla="*/ 262 w 262"/>
                <a:gd name="T7" fmla="*/ 131 h 262"/>
                <a:gd name="T8" fmla="*/ 131 w 262"/>
                <a:gd name="T9" fmla="*/ 0 h 262"/>
                <a:gd name="T10" fmla="*/ 131 w 262"/>
                <a:gd name="T11" fmla="*/ 0 h 262"/>
                <a:gd name="T12" fmla="*/ 131 w 262"/>
                <a:gd name="T13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" h="262">
                  <a:moveTo>
                    <a:pt x="131" y="0"/>
                  </a:moveTo>
                  <a:cubicBezTo>
                    <a:pt x="59" y="0"/>
                    <a:pt x="0" y="59"/>
                    <a:pt x="0" y="131"/>
                  </a:cubicBezTo>
                  <a:cubicBezTo>
                    <a:pt x="0" y="202"/>
                    <a:pt x="59" y="262"/>
                    <a:pt x="131" y="262"/>
                  </a:cubicBezTo>
                  <a:cubicBezTo>
                    <a:pt x="203" y="262"/>
                    <a:pt x="262" y="202"/>
                    <a:pt x="262" y="131"/>
                  </a:cubicBezTo>
                  <a:cubicBezTo>
                    <a:pt x="262" y="59"/>
                    <a:pt x="203" y="0"/>
                    <a:pt x="131" y="0"/>
                  </a:cubicBezTo>
                  <a:close/>
                  <a:moveTo>
                    <a:pt x="131" y="0"/>
                  </a:moveTo>
                  <a:cubicBezTo>
                    <a:pt x="131" y="0"/>
                    <a:pt x="131" y="0"/>
                    <a:pt x="13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</p:grpSp>
      <p:pic>
        <p:nvPicPr>
          <p:cNvPr id="25" name="Picture Placeholder 24" descr="A magnifying glass over a computer monitor&#10;&#10;Description automatically generated">
            <a:extLst>
              <a:ext uri="{FF2B5EF4-FFF2-40B4-BE49-F238E27FC236}">
                <a16:creationId xmlns:a16="http://schemas.microsoft.com/office/drawing/2014/main" id="{BEE5035A-F735-8B0A-9DCF-DDF4C0DA46AC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12381" b="12381"/>
          <a:stretch>
            <a:fillRect/>
          </a:stretch>
        </p:blipFill>
        <p:spPr>
          <a:xfrm>
            <a:off x="2987824" y="2955744"/>
            <a:ext cx="3168352" cy="1668299"/>
          </a:xfrm>
        </p:spPr>
      </p:pic>
    </p:spTree>
    <p:extLst>
      <p:ext uri="{BB962C8B-B14F-4D97-AF65-F5344CB8AC3E}">
        <p14:creationId xmlns:p14="http://schemas.microsoft.com/office/powerpoint/2010/main" val="302626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 products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019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708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 products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go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220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 products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go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ecrease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ecrease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increase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‘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6426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 products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go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ecrease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ecrease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increase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‘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goToCheckou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heckou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fillUserData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heckou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ubmitForm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ayme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pay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Succes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Succes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7015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2E te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7961C7-BCAB-E968-3F6C-5574162E94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6418" y="756688"/>
            <a:ext cx="4255812" cy="311120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D567FE9-0F2E-5D50-C184-15C5EAD54528}"/>
              </a:ext>
            </a:extLst>
          </p:cNvPr>
          <p:cNvGrpSpPr/>
          <p:nvPr/>
        </p:nvGrpSpPr>
        <p:grpSpPr>
          <a:xfrm>
            <a:off x="354023" y="769704"/>
            <a:ext cx="3511597" cy="270000"/>
            <a:chOff x="5277600" y="1334174"/>
            <a:chExt cx="3511597" cy="27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201CF8C-66DF-D8E3-8F6C-445CF8CE96E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0E70C93-FF54-45A3-698F-ADB6C5D62A99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Happy Flow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6" name="Graphic 5" descr="Close with solid fill">
              <a:extLst>
                <a:ext uri="{FF2B5EF4-FFF2-40B4-BE49-F238E27FC236}">
                  <a16:creationId xmlns:a16="http://schemas.microsoft.com/office/drawing/2014/main" id="{F2CFCFEB-119D-15CE-6752-20BE3117B5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3047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Yellow and blue symbols">
            <a:extLst>
              <a:ext uri="{FF2B5EF4-FFF2-40B4-BE49-F238E27FC236}">
                <a16:creationId xmlns:a16="http://schemas.microsoft.com/office/drawing/2014/main" id="{D9B3ADC5-BD3A-D3DC-1B42-5E3EABA748A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7" r="15987"/>
          <a:stretch>
            <a:fillRect/>
          </a:stretch>
        </p:blipFill>
        <p:spPr/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6A889C-9ED2-603F-DF41-D1EA60B05E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Q&amp;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AFE4A3-7D18-8405-242E-8C67D33F0BFF}"/>
              </a:ext>
            </a:extLst>
          </p:cNvPr>
          <p:cNvSpPr txBox="1"/>
          <p:nvPr/>
        </p:nvSpPr>
        <p:spPr>
          <a:xfrm>
            <a:off x="4922514" y="807800"/>
            <a:ext cx="3609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600" dirty="0"/>
              <a:t>My LinkedIn </a:t>
            </a:r>
            <a:r>
              <a:rPr lang="en-GB" sz="1600" b="0" i="0" dirty="0">
                <a:solidFill>
                  <a:srgbClr val="0078D7"/>
                </a:solidFill>
                <a:effectLst/>
                <a:latin typeface="Calibri" panose="020F0502020204030204" pitchFamily="34" charset="0"/>
                <a:hlinkClick r:id="rId3" tooltip="Original URL:&#10;https://www.linkedin.com/in/illia-lebid&#10;&#10;Click to follow link."/>
              </a:rPr>
              <a:t>https://www.linkedin.com/in/illia-lebid</a:t>
            </a:r>
            <a:endParaRPr lang="en-NL" sz="1600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C234C3B-5E53-12F2-4F73-F6BD770E68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6530" y="1471976"/>
            <a:ext cx="3321894" cy="3321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0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>
            <a:extLst>
              <a:ext uri="{FF2B5EF4-FFF2-40B4-BE49-F238E27FC236}">
                <a16:creationId xmlns:a16="http://schemas.microsoft.com/office/drawing/2014/main" id="{B0C7F321-497F-AEA0-D6BF-26B6AFC1DC32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Unit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Types of tests</a:t>
            </a:r>
          </a:p>
        </p:txBody>
      </p:sp>
      <p:sp>
        <p:nvSpPr>
          <p:cNvPr id="49" name="Freeform 223"/>
          <p:cNvSpPr>
            <a:spLocks noEditPoints="1"/>
          </p:cNvSpPr>
          <p:nvPr/>
        </p:nvSpPr>
        <p:spPr bwMode="auto">
          <a:xfrm>
            <a:off x="6659899" y="1552626"/>
            <a:ext cx="806991" cy="869920"/>
          </a:xfrm>
          <a:custGeom>
            <a:avLst/>
            <a:gdLst>
              <a:gd name="T0" fmla="*/ 0 w 41"/>
              <a:gd name="T1" fmla="*/ 20 h 41"/>
              <a:gd name="T2" fmla="*/ 28 w 41"/>
              <a:gd name="T3" fmla="*/ 14 h 41"/>
              <a:gd name="T4" fmla="*/ 30 w 41"/>
              <a:gd name="T5" fmla="*/ 13 h 41"/>
              <a:gd name="T6" fmla="*/ 33 w 41"/>
              <a:gd name="T7" fmla="*/ 12 h 41"/>
              <a:gd name="T8" fmla="*/ 32 w 41"/>
              <a:gd name="T9" fmla="*/ 11 h 41"/>
              <a:gd name="T10" fmla="*/ 30 w 41"/>
              <a:gd name="T11" fmla="*/ 9 h 41"/>
              <a:gd name="T12" fmla="*/ 29 w 41"/>
              <a:gd name="T13" fmla="*/ 10 h 41"/>
              <a:gd name="T14" fmla="*/ 28 w 41"/>
              <a:gd name="T15" fmla="*/ 9 h 41"/>
              <a:gd name="T16" fmla="*/ 25 w 41"/>
              <a:gd name="T17" fmla="*/ 8 h 41"/>
              <a:gd name="T18" fmla="*/ 25 w 41"/>
              <a:gd name="T19" fmla="*/ 10 h 41"/>
              <a:gd name="T20" fmla="*/ 24 w 41"/>
              <a:gd name="T21" fmla="*/ 13 h 41"/>
              <a:gd name="T22" fmla="*/ 22 w 41"/>
              <a:gd name="T23" fmla="*/ 11 h 41"/>
              <a:gd name="T24" fmla="*/ 19 w 41"/>
              <a:gd name="T25" fmla="*/ 9 h 41"/>
              <a:gd name="T26" fmla="*/ 20 w 41"/>
              <a:gd name="T27" fmla="*/ 7 h 41"/>
              <a:gd name="T28" fmla="*/ 23 w 41"/>
              <a:gd name="T29" fmla="*/ 6 h 41"/>
              <a:gd name="T30" fmla="*/ 22 w 41"/>
              <a:gd name="T31" fmla="*/ 5 h 41"/>
              <a:gd name="T32" fmla="*/ 20 w 41"/>
              <a:gd name="T33" fmla="*/ 5 h 41"/>
              <a:gd name="T34" fmla="*/ 18 w 41"/>
              <a:gd name="T35" fmla="*/ 4 h 41"/>
              <a:gd name="T36" fmla="*/ 19 w 41"/>
              <a:gd name="T37" fmla="*/ 5 h 41"/>
              <a:gd name="T38" fmla="*/ 17 w 41"/>
              <a:gd name="T39" fmla="*/ 5 h 41"/>
              <a:gd name="T40" fmla="*/ 15 w 41"/>
              <a:gd name="T41" fmla="*/ 4 h 41"/>
              <a:gd name="T42" fmla="*/ 14 w 41"/>
              <a:gd name="T43" fmla="*/ 5 h 41"/>
              <a:gd name="T44" fmla="*/ 16 w 41"/>
              <a:gd name="T45" fmla="*/ 5 h 41"/>
              <a:gd name="T46" fmla="*/ 14 w 41"/>
              <a:gd name="T47" fmla="*/ 6 h 41"/>
              <a:gd name="T48" fmla="*/ 6 w 41"/>
              <a:gd name="T49" fmla="*/ 11 h 41"/>
              <a:gd name="T50" fmla="*/ 7 w 41"/>
              <a:gd name="T51" fmla="*/ 13 h 41"/>
              <a:gd name="T52" fmla="*/ 9 w 41"/>
              <a:gd name="T53" fmla="*/ 14 h 41"/>
              <a:gd name="T54" fmla="*/ 8 w 41"/>
              <a:gd name="T55" fmla="*/ 17 h 41"/>
              <a:gd name="T56" fmla="*/ 10 w 41"/>
              <a:gd name="T57" fmla="*/ 20 h 41"/>
              <a:gd name="T58" fmla="*/ 12 w 41"/>
              <a:gd name="T59" fmla="*/ 23 h 41"/>
              <a:gd name="T60" fmla="*/ 13 w 41"/>
              <a:gd name="T61" fmla="*/ 24 h 41"/>
              <a:gd name="T62" fmla="*/ 12 w 41"/>
              <a:gd name="T63" fmla="*/ 21 h 41"/>
              <a:gd name="T64" fmla="*/ 14 w 41"/>
              <a:gd name="T65" fmla="*/ 24 h 41"/>
              <a:gd name="T66" fmla="*/ 16 w 41"/>
              <a:gd name="T67" fmla="*/ 27 h 41"/>
              <a:gd name="T68" fmla="*/ 20 w 41"/>
              <a:gd name="T69" fmla="*/ 29 h 41"/>
              <a:gd name="T70" fmla="*/ 23 w 41"/>
              <a:gd name="T71" fmla="*/ 31 h 41"/>
              <a:gd name="T72" fmla="*/ 24 w 41"/>
              <a:gd name="T73" fmla="*/ 31 h 41"/>
              <a:gd name="T74" fmla="*/ 23 w 41"/>
              <a:gd name="T75" fmla="*/ 29 h 41"/>
              <a:gd name="T76" fmla="*/ 21 w 41"/>
              <a:gd name="T77" fmla="*/ 28 h 41"/>
              <a:gd name="T78" fmla="*/ 21 w 41"/>
              <a:gd name="T79" fmla="*/ 25 h 41"/>
              <a:gd name="T80" fmla="*/ 19 w 41"/>
              <a:gd name="T81" fmla="*/ 27 h 41"/>
              <a:gd name="T82" fmla="*/ 18 w 41"/>
              <a:gd name="T83" fmla="*/ 22 h 41"/>
              <a:gd name="T84" fmla="*/ 20 w 41"/>
              <a:gd name="T85" fmla="*/ 22 h 41"/>
              <a:gd name="T86" fmla="*/ 21 w 41"/>
              <a:gd name="T87" fmla="*/ 21 h 41"/>
              <a:gd name="T88" fmla="*/ 23 w 41"/>
              <a:gd name="T89" fmla="*/ 22 h 41"/>
              <a:gd name="T90" fmla="*/ 24 w 41"/>
              <a:gd name="T91" fmla="*/ 22 h 41"/>
              <a:gd name="T92" fmla="*/ 25 w 41"/>
              <a:gd name="T93" fmla="*/ 19 h 41"/>
              <a:gd name="T94" fmla="*/ 25 w 41"/>
              <a:gd name="T95" fmla="*/ 18 h 41"/>
              <a:gd name="T96" fmla="*/ 27 w 41"/>
              <a:gd name="T97" fmla="*/ 17 h 41"/>
              <a:gd name="T98" fmla="*/ 29 w 41"/>
              <a:gd name="T99" fmla="*/ 15 h 41"/>
              <a:gd name="T100" fmla="*/ 30 w 41"/>
              <a:gd name="T101" fmla="*/ 14 h 41"/>
              <a:gd name="T102" fmla="*/ 28 w 41"/>
              <a:gd name="T103" fmla="*/ 14 h 41"/>
              <a:gd name="T104" fmla="*/ 32 w 41"/>
              <a:gd name="T105" fmla="*/ 32 h 41"/>
              <a:gd name="T106" fmla="*/ 29 w 41"/>
              <a:gd name="T107" fmla="*/ 31 h 41"/>
              <a:gd name="T108" fmla="*/ 27 w 41"/>
              <a:gd name="T109" fmla="*/ 31 h 41"/>
              <a:gd name="T110" fmla="*/ 26 w 41"/>
              <a:gd name="T111" fmla="*/ 30 h 41"/>
              <a:gd name="T112" fmla="*/ 25 w 41"/>
              <a:gd name="T113" fmla="*/ 33 h 41"/>
              <a:gd name="T114" fmla="*/ 24 w 41"/>
              <a:gd name="T115" fmla="*/ 36 h 41"/>
              <a:gd name="T116" fmla="*/ 33 w 41"/>
              <a:gd name="T117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1" h="41">
                <a:moveTo>
                  <a:pt x="41" y="20"/>
                </a:moveTo>
                <a:cubicBezTo>
                  <a:pt x="41" y="32"/>
                  <a:pt x="32" y="41"/>
                  <a:pt x="21" y="41"/>
                </a:cubicBezTo>
                <a:cubicBezTo>
                  <a:pt x="9" y="41"/>
                  <a:pt x="0" y="32"/>
                  <a:pt x="0" y="20"/>
                </a:cubicBezTo>
                <a:cubicBezTo>
                  <a:pt x="0" y="9"/>
                  <a:pt x="9" y="0"/>
                  <a:pt x="21" y="0"/>
                </a:cubicBezTo>
                <a:cubicBezTo>
                  <a:pt x="32" y="0"/>
                  <a:pt x="41" y="9"/>
                  <a:pt x="41" y="20"/>
                </a:cubicBezTo>
                <a:close/>
                <a:moveTo>
                  <a:pt x="28" y="14"/>
                </a:moveTo>
                <a:cubicBezTo>
                  <a:pt x="28" y="14"/>
                  <a:pt x="28" y="14"/>
                  <a:pt x="28" y="14"/>
                </a:cubicBezTo>
                <a:cubicBezTo>
                  <a:pt x="28" y="14"/>
                  <a:pt x="28" y="13"/>
                  <a:pt x="28" y="13"/>
                </a:cubicBezTo>
                <a:cubicBezTo>
                  <a:pt x="29" y="13"/>
                  <a:pt x="29" y="13"/>
                  <a:pt x="30" y="13"/>
                </a:cubicBezTo>
                <a:cubicBezTo>
                  <a:pt x="30" y="13"/>
                  <a:pt x="31" y="13"/>
                  <a:pt x="31" y="13"/>
                </a:cubicBezTo>
                <a:cubicBezTo>
                  <a:pt x="31" y="13"/>
                  <a:pt x="32" y="13"/>
                  <a:pt x="32" y="13"/>
                </a:cubicBezTo>
                <a:cubicBezTo>
                  <a:pt x="32" y="12"/>
                  <a:pt x="33" y="13"/>
                  <a:pt x="33" y="12"/>
                </a:cubicBezTo>
                <a:cubicBezTo>
                  <a:pt x="33" y="12"/>
                  <a:pt x="33" y="12"/>
                  <a:pt x="33" y="12"/>
                </a:cubicBezTo>
                <a:cubicBezTo>
                  <a:pt x="32" y="12"/>
                  <a:pt x="32" y="11"/>
                  <a:pt x="32" y="11"/>
                </a:cubicBezTo>
                <a:cubicBezTo>
                  <a:pt x="32" y="11"/>
                  <a:pt x="32" y="11"/>
                  <a:pt x="32" y="11"/>
                </a:cubicBezTo>
                <a:cubicBezTo>
                  <a:pt x="32" y="11"/>
                  <a:pt x="31" y="11"/>
                  <a:pt x="31" y="11"/>
                </a:cubicBezTo>
                <a:cubicBezTo>
                  <a:pt x="31" y="11"/>
                  <a:pt x="31" y="10"/>
                  <a:pt x="31" y="10"/>
                </a:cubicBezTo>
                <a:cubicBezTo>
                  <a:pt x="30" y="10"/>
                  <a:pt x="30" y="10"/>
                  <a:pt x="30" y="9"/>
                </a:cubicBezTo>
                <a:cubicBezTo>
                  <a:pt x="30" y="9"/>
                  <a:pt x="30" y="9"/>
                  <a:pt x="30" y="9"/>
                </a:cubicBezTo>
                <a:cubicBezTo>
                  <a:pt x="29" y="9"/>
                  <a:pt x="29" y="9"/>
                  <a:pt x="29" y="9"/>
                </a:cubicBezTo>
                <a:cubicBezTo>
                  <a:pt x="29" y="9"/>
                  <a:pt x="29" y="9"/>
                  <a:pt x="29" y="10"/>
                </a:cubicBezTo>
                <a:cubicBezTo>
                  <a:pt x="28" y="10"/>
                  <a:pt x="28" y="10"/>
                  <a:pt x="28" y="10"/>
                </a:cubicBezTo>
                <a:cubicBezTo>
                  <a:pt x="29" y="10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8"/>
                  <a:pt x="27" y="8"/>
                  <a:pt x="27" y="8"/>
                </a:cubicBezTo>
                <a:cubicBezTo>
                  <a:pt x="27" y="8"/>
                  <a:pt x="25" y="8"/>
                  <a:pt x="25" y="8"/>
                </a:cubicBezTo>
                <a:cubicBezTo>
                  <a:pt x="25" y="8"/>
                  <a:pt x="25" y="8"/>
                  <a:pt x="25" y="9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10"/>
                  <a:pt x="26" y="10"/>
                  <a:pt x="25" y="10"/>
                </a:cubicBezTo>
                <a:cubicBezTo>
                  <a:pt x="25" y="11"/>
                  <a:pt x="25" y="11"/>
                  <a:pt x="24" y="11"/>
                </a:cubicBezTo>
                <a:cubicBezTo>
                  <a:pt x="24" y="11"/>
                  <a:pt x="25" y="12"/>
                  <a:pt x="25" y="12"/>
                </a:cubicBezTo>
                <a:cubicBezTo>
                  <a:pt x="25" y="12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cubicBezTo>
                  <a:pt x="23" y="11"/>
                  <a:pt x="22" y="11"/>
                  <a:pt x="22" y="11"/>
                </a:cubicBezTo>
                <a:cubicBezTo>
                  <a:pt x="22" y="11"/>
                  <a:pt x="21" y="10"/>
                  <a:pt x="21" y="10"/>
                </a:cubicBezTo>
                <a:cubicBezTo>
                  <a:pt x="21" y="10"/>
                  <a:pt x="20" y="10"/>
                  <a:pt x="20" y="10"/>
                </a:cubicBezTo>
                <a:cubicBezTo>
                  <a:pt x="20" y="10"/>
                  <a:pt x="19" y="9"/>
                  <a:pt x="19" y="9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8"/>
                  <a:pt x="19" y="8"/>
                  <a:pt x="19" y="8"/>
                </a:cubicBezTo>
                <a:cubicBezTo>
                  <a:pt x="20" y="8"/>
                  <a:pt x="20" y="7"/>
                  <a:pt x="20" y="7"/>
                </a:cubicBezTo>
                <a:cubicBezTo>
                  <a:pt x="20" y="7"/>
                  <a:pt x="21" y="7"/>
                  <a:pt x="21" y="7"/>
                </a:cubicBezTo>
                <a:cubicBezTo>
                  <a:pt x="21" y="7"/>
                  <a:pt x="22" y="6"/>
                  <a:pt x="22" y="6"/>
                </a:cubicBezTo>
                <a:cubicBezTo>
                  <a:pt x="22" y="6"/>
                  <a:pt x="23" y="6"/>
                  <a:pt x="23" y="6"/>
                </a:cubicBezTo>
                <a:cubicBezTo>
                  <a:pt x="24" y="6"/>
                  <a:pt x="24" y="6"/>
                  <a:pt x="23" y="5"/>
                </a:cubicBezTo>
                <a:cubicBezTo>
                  <a:pt x="24" y="5"/>
                  <a:pt x="23" y="5"/>
                  <a:pt x="23" y="5"/>
                </a:cubicBezTo>
                <a:cubicBezTo>
                  <a:pt x="23" y="5"/>
                  <a:pt x="22" y="5"/>
                  <a:pt x="22" y="5"/>
                </a:cubicBezTo>
                <a:cubicBezTo>
                  <a:pt x="22" y="5"/>
                  <a:pt x="22" y="6"/>
                  <a:pt x="21" y="6"/>
                </a:cubicBez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1" y="5"/>
                  <a:pt x="20" y="5"/>
                </a:cubicBezTo>
                <a:cubicBezTo>
                  <a:pt x="21" y="5"/>
                  <a:pt x="20" y="5"/>
                  <a:pt x="20" y="5"/>
                </a:cubicBezTo>
                <a:cubicBezTo>
                  <a:pt x="20" y="4"/>
                  <a:pt x="20" y="4"/>
                  <a:pt x="19" y="4"/>
                </a:cubicBezTo>
                <a:cubicBezTo>
                  <a:pt x="19" y="4"/>
                  <a:pt x="18" y="4"/>
                  <a:pt x="18" y="4"/>
                </a:cubicBezTo>
                <a:cubicBezTo>
                  <a:pt x="18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8" y="6"/>
                  <a:pt x="19" y="6"/>
                  <a:pt x="18" y="6"/>
                </a:cubicBezTo>
                <a:cubicBezTo>
                  <a:pt x="18" y="6"/>
                  <a:pt x="18" y="6"/>
                  <a:pt x="18" y="5"/>
                </a:cubicBezTo>
                <a:cubicBezTo>
                  <a:pt x="18" y="6"/>
                  <a:pt x="17" y="5"/>
                  <a:pt x="17" y="5"/>
                </a:cubicBezTo>
                <a:cubicBezTo>
                  <a:pt x="17" y="5"/>
                  <a:pt x="16" y="6"/>
                  <a:pt x="16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4"/>
                  <a:pt x="15" y="4"/>
                </a:cubicBezTo>
                <a:cubicBezTo>
                  <a:pt x="14" y="5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3" y="5"/>
                  <a:pt x="14" y="5"/>
                  <a:pt x="14" y="5"/>
                </a:cubicBezTo>
                <a:cubicBezTo>
                  <a:pt x="14" y="5"/>
                  <a:pt x="15" y="5"/>
                  <a:pt x="15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5" y="5"/>
                  <a:pt x="16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4" y="5"/>
                  <a:pt x="14" y="6"/>
                </a:cubicBezTo>
                <a:cubicBezTo>
                  <a:pt x="14" y="6"/>
                  <a:pt x="14" y="6"/>
                  <a:pt x="14" y="6"/>
                </a:cubicBezTo>
                <a:cubicBezTo>
                  <a:pt x="14" y="6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0" y="7"/>
                  <a:pt x="8" y="9"/>
                  <a:pt x="6" y="11"/>
                </a:cubicBezTo>
                <a:cubicBezTo>
                  <a:pt x="6" y="11"/>
                  <a:pt x="7" y="12"/>
                  <a:pt x="7" y="12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12"/>
                  <a:pt x="7" y="12"/>
                  <a:pt x="7" y="13"/>
                </a:cubicBezTo>
                <a:cubicBezTo>
                  <a:pt x="7" y="13"/>
                  <a:pt x="8" y="13"/>
                  <a:pt x="8" y="13"/>
                </a:cubicBezTo>
                <a:cubicBezTo>
                  <a:pt x="9" y="13"/>
                  <a:pt x="9" y="14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8" y="14"/>
                  <a:pt x="8" y="14"/>
                </a:cubicBezTo>
                <a:cubicBezTo>
                  <a:pt x="8" y="14"/>
                  <a:pt x="8" y="15"/>
                  <a:pt x="9" y="15"/>
                </a:cubicBezTo>
                <a:cubicBezTo>
                  <a:pt x="8" y="15"/>
                  <a:pt x="8" y="16"/>
                  <a:pt x="8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8" y="17"/>
                  <a:pt x="8" y="18"/>
                  <a:pt x="9" y="18"/>
                </a:cubicBezTo>
                <a:cubicBezTo>
                  <a:pt x="9" y="18"/>
                  <a:pt x="10" y="20"/>
                  <a:pt x="10" y="20"/>
                </a:cubicBezTo>
                <a:cubicBezTo>
                  <a:pt x="10" y="20"/>
                  <a:pt x="10" y="20"/>
                  <a:pt x="11" y="20"/>
                </a:cubicBezTo>
                <a:cubicBezTo>
                  <a:pt x="11" y="21"/>
                  <a:pt x="11" y="21"/>
                  <a:pt x="11" y="22"/>
                </a:cubicBezTo>
                <a:cubicBezTo>
                  <a:pt x="11" y="22"/>
                  <a:pt x="12" y="22"/>
                  <a:pt x="12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3"/>
                  <a:pt x="12" y="23"/>
                  <a:pt x="13" y="24"/>
                </a:cubicBezTo>
                <a:cubicBezTo>
                  <a:pt x="13" y="24"/>
                  <a:pt x="13" y="24"/>
                  <a:pt x="13" y="24"/>
                </a:cubicBezTo>
                <a:cubicBezTo>
                  <a:pt x="13" y="24"/>
                  <a:pt x="13" y="23"/>
                  <a:pt x="12" y="23"/>
                </a:cubicBezTo>
                <a:cubicBezTo>
                  <a:pt x="12" y="22"/>
                  <a:pt x="12" y="22"/>
                  <a:pt x="12" y="22"/>
                </a:cubicBezTo>
                <a:cubicBezTo>
                  <a:pt x="12" y="22"/>
                  <a:pt x="12" y="21"/>
                  <a:pt x="12" y="21"/>
                </a:cubicBezTo>
                <a:cubicBezTo>
                  <a:pt x="12" y="21"/>
                  <a:pt x="12" y="21"/>
                  <a:pt x="12" y="21"/>
                </a:cubicBezTo>
                <a:cubicBezTo>
                  <a:pt x="12" y="22"/>
                  <a:pt x="13" y="23"/>
                  <a:pt x="13" y="23"/>
                </a:cubicBezTo>
                <a:cubicBezTo>
                  <a:pt x="13" y="23"/>
                  <a:pt x="14" y="24"/>
                  <a:pt x="14" y="24"/>
                </a:cubicBezTo>
                <a:cubicBezTo>
                  <a:pt x="14" y="24"/>
                  <a:pt x="15" y="25"/>
                  <a:pt x="15" y="25"/>
                </a:cubicBezTo>
                <a:cubicBezTo>
                  <a:pt x="15" y="25"/>
                  <a:pt x="15" y="26"/>
                  <a:pt x="15" y="26"/>
                </a:cubicBezTo>
                <a:cubicBezTo>
                  <a:pt x="15" y="27"/>
                  <a:pt x="16" y="27"/>
                  <a:pt x="16" y="27"/>
                </a:cubicBezTo>
                <a:cubicBezTo>
                  <a:pt x="17" y="27"/>
                  <a:pt x="17" y="28"/>
                  <a:pt x="17" y="28"/>
                </a:cubicBezTo>
                <a:cubicBezTo>
                  <a:pt x="18" y="28"/>
                  <a:pt x="18" y="28"/>
                  <a:pt x="19" y="28"/>
                </a:cubicBezTo>
                <a:cubicBezTo>
                  <a:pt x="19" y="28"/>
                  <a:pt x="19" y="28"/>
                  <a:pt x="20" y="29"/>
                </a:cubicBezTo>
                <a:cubicBezTo>
                  <a:pt x="20" y="29"/>
                  <a:pt x="21" y="29"/>
                  <a:pt x="21" y="29"/>
                </a:cubicBezTo>
                <a:cubicBezTo>
                  <a:pt x="21" y="29"/>
                  <a:pt x="22" y="30"/>
                  <a:pt x="22" y="30"/>
                </a:cubicBezTo>
                <a:cubicBezTo>
                  <a:pt x="22" y="31"/>
                  <a:pt x="23" y="31"/>
                  <a:pt x="23" y="31"/>
                </a:cubicBezTo>
                <a:cubicBezTo>
                  <a:pt x="23" y="31"/>
                  <a:pt x="23" y="31"/>
                  <a:pt x="23" y="31"/>
                </a:cubicBezTo>
                <a:cubicBezTo>
                  <a:pt x="23" y="31"/>
                  <a:pt x="24" y="32"/>
                  <a:pt x="24" y="32"/>
                </a:cubicBezTo>
                <a:cubicBezTo>
                  <a:pt x="24" y="31"/>
                  <a:pt x="24" y="31"/>
                  <a:pt x="24" y="31"/>
                </a:cubicBezTo>
                <a:cubicBezTo>
                  <a:pt x="24" y="31"/>
                  <a:pt x="23" y="31"/>
                  <a:pt x="23" y="30"/>
                </a:cubicBezTo>
                <a:cubicBezTo>
                  <a:pt x="23" y="30"/>
                  <a:pt x="22" y="29"/>
                  <a:pt x="23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3" y="28"/>
                  <a:pt x="23" y="28"/>
                  <a:pt x="22" y="28"/>
                </a:cubicBezTo>
                <a:cubicBezTo>
                  <a:pt x="22" y="28"/>
                  <a:pt x="22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7"/>
                  <a:pt x="21" y="27"/>
                </a:cubicBezTo>
                <a:cubicBezTo>
                  <a:pt x="21" y="26"/>
                  <a:pt x="22" y="25"/>
                  <a:pt x="21" y="25"/>
                </a:cubicBezTo>
                <a:cubicBezTo>
                  <a:pt x="21" y="25"/>
                  <a:pt x="20" y="26"/>
                  <a:pt x="20" y="26"/>
                </a:cubicBezTo>
                <a:cubicBezTo>
                  <a:pt x="20" y="26"/>
                  <a:pt x="20" y="27"/>
                  <a:pt x="20" y="27"/>
                </a:cubicBezTo>
                <a:cubicBezTo>
                  <a:pt x="20" y="27"/>
                  <a:pt x="19" y="27"/>
                  <a:pt x="19" y="27"/>
                </a:cubicBezTo>
                <a:cubicBezTo>
                  <a:pt x="18" y="26"/>
                  <a:pt x="18" y="25"/>
                  <a:pt x="18" y="25"/>
                </a:cubicBezTo>
                <a:cubicBezTo>
                  <a:pt x="18" y="24"/>
                  <a:pt x="18" y="24"/>
                  <a:pt x="18" y="23"/>
                </a:cubicBezTo>
                <a:cubicBezTo>
                  <a:pt x="18" y="23"/>
                  <a:pt x="18" y="22"/>
                  <a:pt x="18" y="22"/>
                </a:cubicBezTo>
                <a:cubicBezTo>
                  <a:pt x="18" y="22"/>
                  <a:pt x="19" y="22"/>
                  <a:pt x="19" y="22"/>
                </a:cubicBezTo>
                <a:cubicBezTo>
                  <a:pt x="19" y="22"/>
                  <a:pt x="18" y="22"/>
                  <a:pt x="18" y="22"/>
                </a:cubicBezTo>
                <a:cubicBezTo>
                  <a:pt x="19" y="22"/>
                  <a:pt x="20" y="22"/>
                  <a:pt x="20" y="22"/>
                </a:cubicBezTo>
                <a:cubicBezTo>
                  <a:pt x="20" y="22"/>
                  <a:pt x="20" y="22"/>
                  <a:pt x="21" y="22"/>
                </a:cubicBezTo>
                <a:cubicBezTo>
                  <a:pt x="21" y="22"/>
                  <a:pt x="20" y="21"/>
                  <a:pt x="20" y="21"/>
                </a:cubicBezTo>
                <a:cubicBezTo>
                  <a:pt x="21" y="22"/>
                  <a:pt x="21" y="22"/>
                  <a:pt x="21" y="21"/>
                </a:cubicBezTo>
                <a:cubicBezTo>
                  <a:pt x="21" y="22"/>
                  <a:pt x="22" y="22"/>
                  <a:pt x="22" y="22"/>
                </a:cubicBezTo>
                <a:cubicBezTo>
                  <a:pt x="22" y="22"/>
                  <a:pt x="22" y="22"/>
                  <a:pt x="23" y="22"/>
                </a:cubicBezTo>
                <a:cubicBezTo>
                  <a:pt x="23" y="22"/>
                  <a:pt x="23" y="22"/>
                  <a:pt x="23" y="22"/>
                </a:cubicBezTo>
                <a:cubicBezTo>
                  <a:pt x="23" y="23"/>
                  <a:pt x="23" y="24"/>
                  <a:pt x="24" y="24"/>
                </a:cubicBezTo>
                <a:cubicBezTo>
                  <a:pt x="24" y="24"/>
                  <a:pt x="24" y="23"/>
                  <a:pt x="24" y="23"/>
                </a:cubicBezTo>
                <a:cubicBezTo>
                  <a:pt x="24" y="23"/>
                  <a:pt x="24" y="22"/>
                  <a:pt x="24" y="22"/>
                </a:cubicBezTo>
                <a:cubicBezTo>
                  <a:pt x="23" y="22"/>
                  <a:pt x="23" y="21"/>
                  <a:pt x="24" y="21"/>
                </a:cubicBezTo>
                <a:cubicBezTo>
                  <a:pt x="24" y="20"/>
                  <a:pt x="25" y="20"/>
                  <a:pt x="25" y="20"/>
                </a:cubicBezTo>
                <a:cubicBezTo>
                  <a:pt x="25" y="20"/>
                  <a:pt x="25" y="19"/>
                  <a:pt x="25" y="19"/>
                </a:cubicBezTo>
                <a:cubicBezTo>
                  <a:pt x="25" y="19"/>
                  <a:pt x="26" y="19"/>
                  <a:pt x="26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18"/>
                  <a:pt x="25" y="18"/>
                  <a:pt x="25" y="18"/>
                </a:cubicBezTo>
                <a:cubicBezTo>
                  <a:pt x="25" y="18"/>
                  <a:pt x="25" y="18"/>
                  <a:pt x="26" y="18"/>
                </a:cubicBezTo>
                <a:cubicBezTo>
                  <a:pt x="26" y="18"/>
                  <a:pt x="26" y="18"/>
                  <a:pt x="26" y="17"/>
                </a:cubicBezTo>
                <a:cubicBezTo>
                  <a:pt x="26" y="17"/>
                  <a:pt x="27" y="17"/>
                  <a:pt x="27" y="17"/>
                </a:cubicBezTo>
                <a:cubicBezTo>
                  <a:pt x="28" y="17"/>
                  <a:pt x="27" y="16"/>
                  <a:pt x="28" y="16"/>
                </a:cubicBezTo>
                <a:cubicBezTo>
                  <a:pt x="28" y="16"/>
                  <a:pt x="28" y="16"/>
                  <a:pt x="28" y="16"/>
                </a:cubicBezTo>
                <a:cubicBezTo>
                  <a:pt x="28" y="16"/>
                  <a:pt x="29" y="15"/>
                  <a:pt x="29" y="15"/>
                </a:cubicBezTo>
                <a:cubicBezTo>
                  <a:pt x="29" y="15"/>
                  <a:pt x="30" y="15"/>
                  <a:pt x="29" y="14"/>
                </a:cubicBezTo>
                <a:cubicBezTo>
                  <a:pt x="30" y="14"/>
                  <a:pt x="29" y="14"/>
                  <a:pt x="29" y="14"/>
                </a:cubicBezTo>
                <a:cubicBezTo>
                  <a:pt x="29" y="14"/>
                  <a:pt x="29" y="14"/>
                  <a:pt x="30" y="14"/>
                </a:cubicBezTo>
                <a:cubicBezTo>
                  <a:pt x="30" y="14"/>
                  <a:pt x="30" y="14"/>
                  <a:pt x="29" y="14"/>
                </a:cubicBezTo>
                <a:cubicBezTo>
                  <a:pt x="29" y="13"/>
                  <a:pt x="28" y="14"/>
                  <a:pt x="28" y="14"/>
                </a:cubicBezTo>
                <a:cubicBezTo>
                  <a:pt x="28" y="14"/>
                  <a:pt x="28" y="14"/>
                  <a:pt x="28" y="14"/>
                </a:cubicBezTo>
                <a:close/>
                <a:moveTo>
                  <a:pt x="33" y="32"/>
                </a:moveTo>
                <a:cubicBezTo>
                  <a:pt x="33" y="32"/>
                  <a:pt x="33" y="32"/>
                  <a:pt x="33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31"/>
                  <a:pt x="31" y="31"/>
                  <a:pt x="31" y="31"/>
                </a:cubicBezTo>
                <a:cubicBezTo>
                  <a:pt x="31" y="31"/>
                  <a:pt x="30" y="30"/>
                  <a:pt x="30" y="30"/>
                </a:cubicBezTo>
                <a:cubicBezTo>
                  <a:pt x="30" y="30"/>
                  <a:pt x="29" y="31"/>
                  <a:pt x="29" y="31"/>
                </a:cubicBezTo>
                <a:cubicBezTo>
                  <a:pt x="29" y="30"/>
                  <a:pt x="29" y="30"/>
                  <a:pt x="28" y="30"/>
                </a:cubicBezTo>
                <a:cubicBezTo>
                  <a:pt x="28" y="30"/>
                  <a:pt x="28" y="29"/>
                  <a:pt x="27" y="30"/>
                </a:cubicBezTo>
                <a:cubicBezTo>
                  <a:pt x="27" y="30"/>
                  <a:pt x="27" y="30"/>
                  <a:pt x="27" y="31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29"/>
                  <a:pt x="26" y="30"/>
                  <a:pt x="26" y="30"/>
                </a:cubicBezTo>
                <a:cubicBezTo>
                  <a:pt x="26" y="30"/>
                  <a:pt x="26" y="30"/>
                  <a:pt x="26" y="30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2"/>
                  <a:pt x="25" y="33"/>
                </a:cubicBezTo>
                <a:cubicBezTo>
                  <a:pt x="25" y="33"/>
                  <a:pt x="25" y="34"/>
                  <a:pt x="25" y="34"/>
                </a:cubicBezTo>
                <a:cubicBezTo>
                  <a:pt x="24" y="34"/>
                  <a:pt x="24" y="35"/>
                  <a:pt x="24" y="35"/>
                </a:cubicBezTo>
                <a:cubicBezTo>
                  <a:pt x="24" y="35"/>
                  <a:pt x="24" y="36"/>
                  <a:pt x="24" y="36"/>
                </a:cubicBezTo>
                <a:cubicBezTo>
                  <a:pt x="24" y="36"/>
                  <a:pt x="24" y="36"/>
                  <a:pt x="24" y="37"/>
                </a:cubicBezTo>
                <a:cubicBezTo>
                  <a:pt x="24" y="37"/>
                  <a:pt x="24" y="37"/>
                  <a:pt x="24" y="37"/>
                </a:cubicBezTo>
                <a:cubicBezTo>
                  <a:pt x="27" y="37"/>
                  <a:pt x="31" y="35"/>
                  <a:pt x="33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7" tIns="34289" rIns="68577" bIns="34289" numCol="1" anchor="t" anchorCtr="0" compatLnSpc="1">
            <a:prstTxWarp prst="textNoShape">
              <a:avLst/>
            </a:prstTxWarp>
          </a:bodyPr>
          <a:lstStyle/>
          <a:p>
            <a:pPr defTabSz="685783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6B520029-AE91-023B-0832-72A6CD73F762}"/>
              </a:ext>
            </a:extLst>
          </p:cNvPr>
          <p:cNvSpPr/>
          <p:nvPr/>
        </p:nvSpPr>
        <p:spPr>
          <a:xfrm>
            <a:off x="359002" y="1483800"/>
            <a:ext cx="3600000" cy="576064"/>
          </a:xfrm>
          <a:prstGeom prst="homePlat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Functional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9E9E5E7F-85F2-B57C-EB3A-0F37AF228FF7}"/>
              </a:ext>
            </a:extLst>
          </p:cNvPr>
          <p:cNvSpPr/>
          <p:nvPr/>
        </p:nvSpPr>
        <p:spPr>
          <a:xfrm>
            <a:off x="348860" y="2167931"/>
            <a:ext cx="3600000" cy="576064"/>
          </a:xfrm>
          <a:prstGeom prst="homePlate">
            <a:avLst/>
          </a:prstGeom>
          <a:solidFill>
            <a:srgbClr val="FFFD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E2E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6AF8C5CD-AEC0-67EA-39DE-633C8C65BA8B}"/>
              </a:ext>
            </a:extLst>
          </p:cNvPr>
          <p:cNvSpPr/>
          <p:nvPr/>
        </p:nvSpPr>
        <p:spPr>
          <a:xfrm>
            <a:off x="343991" y="3576741"/>
            <a:ext cx="3600000" cy="576064"/>
          </a:xfrm>
          <a:prstGeom prst="homePlate">
            <a:avLst/>
          </a:prstGeom>
          <a:solidFill>
            <a:srgbClr val="73FB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C2BA6029-67E7-924C-1F05-B6E26C04714F}"/>
              </a:ext>
            </a:extLst>
          </p:cNvPr>
          <p:cNvSpPr/>
          <p:nvPr/>
        </p:nvSpPr>
        <p:spPr>
          <a:xfrm>
            <a:off x="343991" y="4292740"/>
            <a:ext cx="3600000" cy="576064"/>
          </a:xfrm>
          <a:prstGeom prst="homePlat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Mutation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4DBDD1F-5B63-4EAD-F6E1-807224133DD9}"/>
              </a:ext>
            </a:extLst>
          </p:cNvPr>
          <p:cNvSpPr/>
          <p:nvPr/>
        </p:nvSpPr>
        <p:spPr>
          <a:xfrm flipH="1">
            <a:off x="4566139" y="796512"/>
            <a:ext cx="3576601" cy="576064"/>
          </a:xfrm>
          <a:prstGeom prst="homePlate">
            <a:avLst/>
          </a:prstGeom>
          <a:solidFill>
            <a:srgbClr val="76D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E1CD294C-46C9-1E2D-09DC-D7D4D6E2616C}"/>
              </a:ext>
            </a:extLst>
          </p:cNvPr>
          <p:cNvSpPr/>
          <p:nvPr/>
        </p:nvSpPr>
        <p:spPr>
          <a:xfrm flipH="1">
            <a:off x="4554441" y="1485868"/>
            <a:ext cx="3588299" cy="576064"/>
          </a:xfrm>
          <a:prstGeom prst="homePlate">
            <a:avLst/>
          </a:prstGeom>
          <a:solidFill>
            <a:srgbClr val="7A81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Memory leakage</a:t>
            </a: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398C1DE3-75EB-9CDC-C515-F69B87339964}"/>
              </a:ext>
            </a:extLst>
          </p:cNvPr>
          <p:cNvSpPr/>
          <p:nvPr/>
        </p:nvSpPr>
        <p:spPr>
          <a:xfrm flipH="1">
            <a:off x="4566139" y="2173305"/>
            <a:ext cx="3588299" cy="576064"/>
          </a:xfrm>
          <a:prstGeom prst="homePlate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napshots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D8FFCF5-4053-D9AC-7B31-FB56B5D613D2}"/>
              </a:ext>
            </a:extLst>
          </p:cNvPr>
          <p:cNvSpPr/>
          <p:nvPr/>
        </p:nvSpPr>
        <p:spPr>
          <a:xfrm flipH="1">
            <a:off x="4566139" y="2860742"/>
            <a:ext cx="3599999" cy="576064"/>
          </a:xfrm>
          <a:prstGeom prst="homePlate">
            <a:avLst/>
          </a:prstGeom>
          <a:solidFill>
            <a:srgbClr val="FF8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ecurity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21C9AEE-9710-33E5-3B8B-2CA0E9BF53F7}"/>
              </a:ext>
            </a:extLst>
          </p:cNvPr>
          <p:cNvSpPr/>
          <p:nvPr/>
        </p:nvSpPr>
        <p:spPr>
          <a:xfrm flipH="1">
            <a:off x="4554441" y="3536192"/>
            <a:ext cx="3599998" cy="576064"/>
          </a:xfrm>
          <a:prstGeom prst="homePlate">
            <a:avLst/>
          </a:prstGeom>
          <a:solidFill>
            <a:srgbClr val="FF8A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Code quality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ECBE0CE3-5BD6-B6F5-482D-DD2478B097AB}"/>
              </a:ext>
            </a:extLst>
          </p:cNvPr>
          <p:cNvSpPr/>
          <p:nvPr/>
        </p:nvSpPr>
        <p:spPr>
          <a:xfrm>
            <a:off x="348860" y="2860742"/>
            <a:ext cx="3600000" cy="576064"/>
          </a:xfrm>
          <a:prstGeom prst="homePlate">
            <a:avLst/>
          </a:prstGeom>
          <a:solidFill>
            <a:srgbClr val="D5FC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2435628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973960365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77420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06960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06367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23zVD2c0.5ArztPZ1x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0V7tEoZke4k1_faZ6v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wrtB1ghUWQI7j7Yv7O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mLmtELKk.dE1NNAEUH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j4BT5Q2ECGLOqDhkAQ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PpYcjxNUWMtZhOAP.B.w"/>
</p:tagLst>
</file>

<file path=ppt/theme/theme1.xml><?xml version="1.0" encoding="utf-8"?>
<a:theme xmlns:a="http://schemas.openxmlformats.org/drawingml/2006/main" name="Extern 16x9 EN">
  <a:themeElements>
    <a:clrScheme name="ABN AMRO Ex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54646C"/>
      </a:accent2>
      <a:accent3>
        <a:srgbClr val="00646C"/>
      </a:accent3>
      <a:accent4>
        <a:srgbClr val="94C23C"/>
      </a:accent4>
      <a:accent5>
        <a:srgbClr val="BBBEC3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xtern 16x9 EN.potx" id="{732F7AAE-5A20-4D40-A005-8ACF015CAE8C}" vid="{B18A1B3A-248C-46B7-9F8A-52AEA66AF423}"/>
    </a:ext>
  </a:extLst>
</a:theme>
</file>

<file path=ppt/theme/theme2.xml><?xml version="1.0" encoding="utf-8"?>
<a:theme xmlns:a="http://schemas.openxmlformats.org/drawingml/2006/main" name="Kantoorthema">
  <a:themeElements>
    <a:clrScheme name="ABN AMRO">
      <a:dk1>
        <a:srgbClr val="000000"/>
      </a:dk1>
      <a:lt1>
        <a:sysClr val="window" lastClr="FFFFFF"/>
      </a:lt1>
      <a:dk2>
        <a:srgbClr val="009286"/>
      </a:dk2>
      <a:lt2>
        <a:srgbClr val="004C4C"/>
      </a:lt2>
      <a:accent1>
        <a:srgbClr val="79838C"/>
      </a:accent1>
      <a:accent2>
        <a:srgbClr val="009286"/>
      </a:accent2>
      <a:accent3>
        <a:srgbClr val="BBBEC3"/>
      </a:accent3>
      <a:accent4>
        <a:srgbClr val="005E5D"/>
      </a:accent4>
      <a:accent5>
        <a:srgbClr val="F3C000"/>
      </a:accent5>
      <a:accent6>
        <a:srgbClr val="006480"/>
      </a:accent6>
      <a:hlink>
        <a:srgbClr val="009286"/>
      </a:hlink>
      <a:folHlink>
        <a:srgbClr val="0067B2"/>
      </a:folHlink>
    </a:clrScheme>
    <a:fontScheme name="Aangepas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2"/>
          </a:solidFill>
          <a:headEnd type="none" w="med" len="med"/>
          <a:tailEnd type="oval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3dbb911-c30a-421f-b09c-09dd51c662b7">
      <Terms xmlns="http://schemas.microsoft.com/office/infopath/2007/PartnerControls"/>
    </lcf76f155ced4ddcb4097134ff3c332f>
    <TaxCatchAll xmlns="c962d9db-3d13-45f0-8a7d-4953e14385ca" xsi:nil="true"/>
    <SharedWithUsers xmlns="c962d9db-3d13-45f0-8a7d-4953e14385ca">
      <UserInfo>
        <DisplayName/>
        <AccountId xsi:nil="true"/>
        <AccountType/>
      </UserInfo>
    </SharedWithUsers>
    <MediaLengthInSeconds xmlns="53dbb911-c30a-421f-b09c-09dd51c662b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35731041D68E479D4061DB65E85A9D" ma:contentTypeVersion="16" ma:contentTypeDescription="Een nieuw document maken." ma:contentTypeScope="" ma:versionID="ef13125cec03ea32b7f7b2fb38be439f">
  <xsd:schema xmlns:xsd="http://www.w3.org/2001/XMLSchema" xmlns:xs="http://www.w3.org/2001/XMLSchema" xmlns:p="http://schemas.microsoft.com/office/2006/metadata/properties" xmlns:ns2="53dbb911-c30a-421f-b09c-09dd51c662b7" xmlns:ns3="c962d9db-3d13-45f0-8a7d-4953e14385ca" targetNamespace="http://schemas.microsoft.com/office/2006/metadata/properties" ma:root="true" ma:fieldsID="83ae3767d113b8d814f4a957d85ea42e" ns2:_="" ns3:_="">
    <xsd:import namespace="53dbb911-c30a-421f-b09c-09dd51c662b7"/>
    <xsd:import namespace="c962d9db-3d13-45f0-8a7d-4953e14385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dbb911-c30a-421f-b09c-09dd51c662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Afbeeldingtags" ma:readOnly="false" ma:fieldId="{5cf76f15-5ced-4ddc-b409-7134ff3c332f}" ma:taxonomyMulti="true" ma:sspId="b914e6b1-0896-40a9-85da-0b0e1f3ba4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2d9db-3d13-45f0-8a7d-4953e14385c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7ddf58a-400d-4ed4-b70f-8fec476dde17}" ma:internalName="TaxCatchAll" ma:showField="CatchAllData" ma:web="c962d9db-3d13-45f0-8a7d-4953e14385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C51916-87AC-4A9B-A959-3350DB9B11FB}">
  <ds:schemaRefs>
    <ds:schemaRef ds:uri="http://purl.org/dc/elements/1.1/"/>
    <ds:schemaRef ds:uri="http://purl.org/dc/terms/"/>
    <ds:schemaRef ds:uri="http://schemas.microsoft.com/office/2006/metadata/properties"/>
    <ds:schemaRef ds:uri="53dbb911-c30a-421f-b09c-09dd51c662b7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c962d9db-3d13-45f0-8a7d-4953e14385ca"/>
  </ds:schemaRefs>
</ds:datastoreItem>
</file>

<file path=customXml/itemProps2.xml><?xml version="1.0" encoding="utf-8"?>
<ds:datastoreItem xmlns:ds="http://schemas.openxmlformats.org/officeDocument/2006/customXml" ds:itemID="{5DCE4295-34B9-488F-8ADF-4F30248ED5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dbb911-c30a-421f-b09c-09dd51c662b7"/>
    <ds:schemaRef ds:uri="c962d9db-3d13-45f0-8a7d-4953e14385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88198E7-3907-46AD-AD9B-68EBD5698BE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884</TotalTime>
  <Words>2418</Words>
  <Application>Microsoft Macintosh PowerPoint</Application>
  <PresentationFormat>On-screen Show (16:9)</PresentationFormat>
  <Paragraphs>497</Paragraphs>
  <Slides>4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4" baseType="lpstr">
      <vt:lpstr>Arial</vt:lpstr>
      <vt:lpstr>Calibri</vt:lpstr>
      <vt:lpstr>Courier New</vt:lpstr>
      <vt:lpstr>Menlo</vt:lpstr>
      <vt:lpstr>Wingdings</vt:lpstr>
      <vt:lpstr>Wingdings 3</vt:lpstr>
      <vt:lpstr>Extern 16x9 EN</vt:lpstr>
      <vt:lpstr>Kantoorthema</vt:lpstr>
      <vt:lpstr>think-cell Slide</vt:lpstr>
      <vt:lpstr>PowerPoint Presentation</vt:lpstr>
      <vt:lpstr>Story ti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BN AM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ijer,Tamar</dc:creator>
  <cp:lastModifiedBy>Illia Lebid</cp:lastModifiedBy>
  <cp:revision>119</cp:revision>
  <dcterms:created xsi:type="dcterms:W3CDTF">2018-08-28T11:37:56Z</dcterms:created>
  <dcterms:modified xsi:type="dcterms:W3CDTF">2023-10-04T13:1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bce33f7-04c0-4596-9b71-ba8617e88451_Enabled">
    <vt:lpwstr>true</vt:lpwstr>
  </property>
  <property fmtid="{D5CDD505-2E9C-101B-9397-08002B2CF9AE}" pid="3" name="MSIP_Label_0bce33f7-04c0-4596-9b71-ba8617e88451_SetDate">
    <vt:lpwstr>2021-02-04T16:39:13Z</vt:lpwstr>
  </property>
  <property fmtid="{D5CDD505-2E9C-101B-9397-08002B2CF9AE}" pid="4" name="MSIP_Label_0bce33f7-04c0-4596-9b71-ba8617e88451_Method">
    <vt:lpwstr>Privileged</vt:lpwstr>
  </property>
  <property fmtid="{D5CDD505-2E9C-101B-9397-08002B2CF9AE}" pid="5" name="MSIP_Label_0bce33f7-04c0-4596-9b71-ba8617e88451_Name">
    <vt:lpwstr>0bce33f7-04c0-4596-9b71-ba8617e88451</vt:lpwstr>
  </property>
  <property fmtid="{D5CDD505-2E9C-101B-9397-08002B2CF9AE}" pid="6" name="MSIP_Label_0bce33f7-04c0-4596-9b71-ba8617e88451_SiteId">
    <vt:lpwstr>3a15904d-3fd9-4256-a753-beb05cdf0c6d</vt:lpwstr>
  </property>
  <property fmtid="{D5CDD505-2E9C-101B-9397-08002B2CF9AE}" pid="7" name="MSIP_Label_0bce33f7-04c0-4596-9b71-ba8617e88451_ActionId">
    <vt:lpwstr>238eb7c8-5bda-467c-9b3a-46e9036623c2</vt:lpwstr>
  </property>
  <property fmtid="{D5CDD505-2E9C-101B-9397-08002B2CF9AE}" pid="8" name="MSIP_Label_0bce33f7-04c0-4596-9b71-ba8617e88451_ContentBits">
    <vt:lpwstr>0</vt:lpwstr>
  </property>
  <property fmtid="{D5CDD505-2E9C-101B-9397-08002B2CF9AE}" pid="9" name="ContentTypeId">
    <vt:lpwstr>0x010100D035731041D68E479D4061DB65E85A9D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bool>false</vt:bool>
  </property>
  <property fmtid="{D5CDD505-2E9C-101B-9397-08002B2CF9AE}" pid="16" name="xd_ProgID">
    <vt:lpwstr/>
  </property>
  <property fmtid="{D5CDD505-2E9C-101B-9397-08002B2CF9AE}" pid="17" name="TemplateUrl">
    <vt:lpwstr/>
  </property>
  <property fmtid="{D5CDD505-2E9C-101B-9397-08002B2CF9AE}" pid="18" name="MediaServiceImageTags">
    <vt:lpwstr/>
  </property>
</Properties>
</file>